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1" r:id="rId5"/>
  </p:sldMasterIdLst>
  <p:notesMasterIdLst>
    <p:notesMasterId r:id="rId29"/>
  </p:notesMasterIdLst>
  <p:sldIdLst>
    <p:sldId id="1027" r:id="rId6"/>
    <p:sldId id="1029" r:id="rId7"/>
    <p:sldId id="1047" r:id="rId8"/>
    <p:sldId id="1028" r:id="rId9"/>
    <p:sldId id="1031" r:id="rId10"/>
    <p:sldId id="1032" r:id="rId11"/>
    <p:sldId id="1044" r:id="rId12"/>
    <p:sldId id="1045" r:id="rId13"/>
    <p:sldId id="1033" r:id="rId14"/>
    <p:sldId id="1053" r:id="rId15"/>
    <p:sldId id="1054" r:id="rId16"/>
    <p:sldId id="1055" r:id="rId17"/>
    <p:sldId id="1056" r:id="rId18"/>
    <p:sldId id="1057" r:id="rId19"/>
    <p:sldId id="1058" r:id="rId20"/>
    <p:sldId id="1035" r:id="rId21"/>
    <p:sldId id="1048" r:id="rId22"/>
    <p:sldId id="1049" r:id="rId23"/>
    <p:sldId id="1050" r:id="rId24"/>
    <p:sldId id="1051" r:id="rId25"/>
    <p:sldId id="1036" r:id="rId26"/>
    <p:sldId id="1037" r:id="rId27"/>
    <p:sldId id="1046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2" userDrawn="1">
          <p15:clr>
            <a:srgbClr val="A4A3A4"/>
          </p15:clr>
        </p15:guide>
        <p15:guide id="2" pos="166" userDrawn="1">
          <p15:clr>
            <a:srgbClr val="A4A3A4"/>
          </p15:clr>
        </p15:guide>
        <p15:guide id="3" pos="16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dministrator" initials="A" lastIdx="1" clrIdx="0"/>
  <p:cmAuthor id="7" name="Katie Perryman-Ford" initials="KP" lastIdx="1" clrIdx="7"/>
  <p:cmAuthor id="1" name="Elizabeth Rutherford" initials="ER" lastIdx="2" clrIdx="1"/>
  <p:cmAuthor id="8" name="James Benson" initials="JB" lastIdx="6" clrIdx="8"/>
  <p:cmAuthor id="2" name="Lydia Salice" initials="LS" lastIdx="2" clrIdx="2"/>
  <p:cmAuthor id="3" name="Katherine Woods" initials="KW" lastIdx="1" clrIdx="3"/>
  <p:cmAuthor id="4" name="James Mackenzie" initials="JM" lastIdx="0" clrIdx="4"/>
  <p:cmAuthor id="5" name="Angela Morris" initials="AM" lastIdx="7" clrIdx="5"/>
  <p:cmAuthor id="6" name="Tim McCormick" initials="TM" lastIdx="9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7272"/>
    <a:srgbClr val="4A682B"/>
    <a:srgbClr val="FF223D"/>
    <a:srgbClr val="D5FFFE"/>
    <a:srgbClr val="00A8A4"/>
    <a:srgbClr val="00D2CD"/>
    <a:srgbClr val="00B4B0"/>
    <a:srgbClr val="67F0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02" autoAdjust="0"/>
    <p:restoredTop sz="82199" autoAdjust="0"/>
  </p:normalViewPr>
  <p:slideViewPr>
    <p:cSldViewPr snapToGrid="0">
      <p:cViewPr varScale="1">
        <p:scale>
          <a:sx n="94" d="100"/>
          <a:sy n="94" d="100"/>
        </p:scale>
        <p:origin x="1296" y="78"/>
      </p:cViewPr>
      <p:guideLst>
        <p:guide orient="horz" pos="142"/>
        <p:guide pos="166"/>
        <p:guide pos="16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80" d="100"/>
          <a:sy n="80" d="100"/>
        </p:scale>
        <p:origin x="-2232" y="18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commentAuthors" Target="commentAuthors.xml"/><Relationship Id="rId8" Type="http://schemas.openxmlformats.org/officeDocument/2006/relationships/slide" Target="slides/slide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B19A20-719A-4F6A-961D-6476591D1E47}" type="datetimeFigureOut">
              <a:rPr lang="en-GB" smtClean="0"/>
              <a:t>06/09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36D0FA-9E90-4A6A-A8DB-4C94F45878B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065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36D0FA-9E90-4A6A-A8DB-4C94F45878BE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31432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36D0FA-9E90-4A6A-A8DB-4C94F45878BE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11504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36D0FA-9E90-4A6A-A8DB-4C94F45878BE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04787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36D0FA-9E90-4A6A-A8DB-4C94F45878BE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02086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36D0FA-9E90-4A6A-A8DB-4C94F45878BE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79843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36D0FA-9E90-4A6A-A8DB-4C94F45878BE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23808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36D0FA-9E90-4A6A-A8DB-4C94F45878BE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59137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36D0FA-9E90-4A6A-A8DB-4C94F45878BE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51727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36D0FA-9E90-4A6A-A8DB-4C94F45878BE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32933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36D0FA-9E90-4A6A-A8DB-4C94F45878BE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26814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36D0FA-9E90-4A6A-A8DB-4C94F45878BE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91822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2"/>
            </p:custDataLst>
          </p:nvPr>
        </p:nvSpPr>
        <p:spPr>
          <a:xfrm>
            <a:off x="53" y="0"/>
            <a:ext cx="158751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102099" y="6189435"/>
            <a:ext cx="2743440" cy="530398"/>
          </a:xfrm>
          <a:prstGeom prst="rect">
            <a:avLst/>
          </a:prstGeom>
        </p:spPr>
      </p:pic>
      <p:sp>
        <p:nvSpPr>
          <p:cNvPr id="7" name="Copyright" hidden="1"/>
          <p:cNvSpPr txBox="1"/>
          <p:nvPr userDrawn="1"/>
        </p:nvSpPr>
        <p:spPr>
          <a:xfrm rot="16200000">
            <a:off x="9486983" y="340603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1" y="4553016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191122 [DRAFT] NWL STP 2021 Recovery overview - vF incl appendix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3" y="134331"/>
            <a:ext cx="10933200" cy="66479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  <a:br>
              <a:rPr lang="en-US" dirty="0"/>
            </a:br>
            <a:endParaRPr lang="en-US" dirty="0"/>
          </a:p>
        </p:txBody>
      </p:sp>
      <p:sp>
        <p:nvSpPr>
          <p:cNvPr id="10" name="bk object 19"/>
          <p:cNvSpPr/>
          <p:nvPr userDrawn="1"/>
        </p:nvSpPr>
        <p:spPr>
          <a:xfrm>
            <a:off x="6377" y="933450"/>
            <a:ext cx="12185651" cy="0"/>
          </a:xfrm>
          <a:custGeom>
            <a:avLst/>
            <a:gdLst/>
            <a:ahLst/>
            <a:cxnLst/>
            <a:rect l="l" t="t" r="r" b="b"/>
            <a:pathLst>
              <a:path w="12185650">
                <a:moveTo>
                  <a:pt x="0" y="0"/>
                </a:moveTo>
                <a:lnTo>
                  <a:pt x="12185650" y="0"/>
                </a:lnTo>
              </a:path>
            </a:pathLst>
          </a:custGeom>
          <a:ln w="1270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bk object 17"/>
          <p:cNvSpPr/>
          <p:nvPr userDrawn="1"/>
        </p:nvSpPr>
        <p:spPr>
          <a:xfrm>
            <a:off x="6377" y="6102350"/>
            <a:ext cx="12185651" cy="0"/>
          </a:xfrm>
          <a:custGeom>
            <a:avLst/>
            <a:gdLst/>
            <a:ahLst/>
            <a:cxnLst/>
            <a:rect l="l" t="t" r="r" b="b"/>
            <a:pathLst>
              <a:path w="12185650">
                <a:moveTo>
                  <a:pt x="0" y="0"/>
                </a:moveTo>
                <a:lnTo>
                  <a:pt x="12185650" y="0"/>
                </a:lnTo>
              </a:path>
            </a:pathLst>
          </a:custGeom>
          <a:ln w="38100">
            <a:solidFill>
              <a:srgbClr val="00B8B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31338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52" y="6405036"/>
            <a:ext cx="1482049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28" y="3826800"/>
            <a:ext cx="10936800" cy="20412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920" y="3680016"/>
            <a:ext cx="11576303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5710380" y="6611986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lvl="0"/>
            <a:fld id="{DFCF27A5-1A5B-48D3-A060-2758FFBB1ADD}" type="slidenum">
              <a:rPr lang="en-US" smtClean="0">
                <a:sym typeface="+mn-lt"/>
              </a:rPr>
              <a:pPr lvl="0"/>
              <a:t>‹#›</a:t>
            </a:fld>
            <a:endParaRPr lang="en-US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89934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989" y="599387"/>
            <a:ext cx="10515600" cy="27768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000">
                <a:solidFill>
                  <a:srgbClr val="00B8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089650"/>
            <a:ext cx="12192000" cy="0"/>
          </a:xfrm>
          <a:prstGeom prst="line">
            <a:avLst/>
          </a:prstGeom>
          <a:ln w="38100">
            <a:solidFill>
              <a:srgbClr val="00B8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/>
          <p:cNvSpPr>
            <a:spLocks noGrp="1"/>
          </p:cNvSpPr>
          <p:nvPr>
            <p:ph idx="13" hasCustomPrompt="1"/>
          </p:nvPr>
        </p:nvSpPr>
        <p:spPr>
          <a:xfrm>
            <a:off x="838201" y="118181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D007A75-DA07-42A5-8709-9176AEB5FFF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6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021B7C-CB2B-458B-9E44-8FD59566763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801224" y="6356355"/>
            <a:ext cx="1941976" cy="3651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prstClr val="white"/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7105824" y="6281028"/>
            <a:ext cx="1941976" cy="3651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prstClr val="white"/>
                </a:solidFill>
              </a:ln>
              <a:solidFill>
                <a:prstClr val="white"/>
              </a:solidFill>
            </a:endParaRPr>
          </a:p>
        </p:txBody>
      </p:sp>
      <p:pic>
        <p:nvPicPr>
          <p:cNvPr id="11" name="Picture 2" descr="\\nwlondon.local\csu\Communications\14. Logos, images and photos\Logos\Health and care partnership\Health and care partnership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8631" y="6182435"/>
            <a:ext cx="3702116" cy="562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23744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2"/>
            </p:custDataLst>
          </p:nvPr>
        </p:nvSpPr>
        <p:spPr>
          <a:xfrm>
            <a:off x="54" y="0"/>
            <a:ext cx="158751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102099" y="6189435"/>
            <a:ext cx="2743440" cy="530398"/>
          </a:xfrm>
          <a:prstGeom prst="rect">
            <a:avLst/>
          </a:prstGeom>
        </p:spPr>
      </p:pic>
      <p:sp>
        <p:nvSpPr>
          <p:cNvPr id="7" name="Copyright" hidden="1"/>
          <p:cNvSpPr txBox="1"/>
          <p:nvPr userDrawn="1"/>
        </p:nvSpPr>
        <p:spPr>
          <a:xfrm rot="16200000">
            <a:off x="9486985" y="3418150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1" y="4613608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GB" sz="525">
                <a:solidFill>
                  <a:prstClr val="white">
                    <a:lumMod val="50000"/>
                  </a:prstClr>
                </a:solidFill>
                <a:sym typeface="+mn-lt"/>
              </a:rPr>
              <a:t>191122 [DRAFT] NWL STP 2021 Recovery overview - vF incl appendix.pptx</a:t>
            </a:r>
            <a:endParaRPr lang="en-US" sz="525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3" y="134331"/>
            <a:ext cx="10933200" cy="4985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18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  <a:br>
              <a:rPr lang="en-US" dirty="0"/>
            </a:br>
            <a:endParaRPr lang="en-US" dirty="0"/>
          </a:p>
        </p:txBody>
      </p:sp>
      <p:sp>
        <p:nvSpPr>
          <p:cNvPr id="10" name="bk object 19"/>
          <p:cNvSpPr/>
          <p:nvPr userDrawn="1"/>
        </p:nvSpPr>
        <p:spPr>
          <a:xfrm>
            <a:off x="6377" y="933450"/>
            <a:ext cx="12185651" cy="0"/>
          </a:xfrm>
          <a:custGeom>
            <a:avLst/>
            <a:gdLst/>
            <a:ahLst/>
            <a:cxnLst/>
            <a:rect l="l" t="t" r="r" b="b"/>
            <a:pathLst>
              <a:path w="12185650">
                <a:moveTo>
                  <a:pt x="0" y="0"/>
                </a:moveTo>
                <a:lnTo>
                  <a:pt x="12185650" y="0"/>
                </a:lnTo>
              </a:path>
            </a:pathLst>
          </a:custGeom>
          <a:ln w="1270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 sz="1350">
              <a:solidFill>
                <a:srgbClr val="000000"/>
              </a:solidFill>
            </a:endParaRPr>
          </a:p>
        </p:txBody>
      </p:sp>
      <p:sp>
        <p:nvSpPr>
          <p:cNvPr id="16" name="bk object 17"/>
          <p:cNvSpPr/>
          <p:nvPr userDrawn="1"/>
        </p:nvSpPr>
        <p:spPr>
          <a:xfrm>
            <a:off x="6377" y="6102350"/>
            <a:ext cx="12185651" cy="0"/>
          </a:xfrm>
          <a:custGeom>
            <a:avLst/>
            <a:gdLst/>
            <a:ahLst/>
            <a:cxnLst/>
            <a:rect l="l" t="t" r="r" b="b"/>
            <a:pathLst>
              <a:path w="12185650">
                <a:moveTo>
                  <a:pt x="0" y="0"/>
                </a:moveTo>
                <a:lnTo>
                  <a:pt x="12185650" y="0"/>
                </a:lnTo>
              </a:path>
            </a:pathLst>
          </a:custGeom>
          <a:ln w="38100">
            <a:solidFill>
              <a:srgbClr val="00B8B3"/>
            </a:solidFill>
          </a:ln>
        </p:spPr>
        <p:txBody>
          <a:bodyPr wrap="square" lIns="0" tIns="0" rIns="0" bIns="0" rtlCol="0"/>
          <a:lstStyle/>
          <a:p>
            <a:endParaRPr sz="135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9752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53" y="6443508"/>
            <a:ext cx="1482049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28" y="3826800"/>
            <a:ext cx="10936800" cy="20412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405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922" y="3680016"/>
            <a:ext cx="11576303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5733626" y="6635073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fld id="{DFCF27A5-1A5B-48D3-A060-2758FFBB1ADD}" type="slidenum">
              <a:rPr lang="en-US" sz="900" smtClean="0">
                <a:solidFill>
                  <a:prstClr val="white"/>
                </a:solidFill>
                <a:sym typeface="+mn-lt"/>
              </a:rPr>
              <a:pPr/>
              <a:t>‹#›</a:t>
            </a:fld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06220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4.bin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621" y="172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21" y="172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6"/>
            </p:custDataLst>
          </p:nvPr>
        </p:nvSpPr>
        <p:spPr>
          <a:xfrm>
            <a:off x="53" y="0"/>
            <a:ext cx="158751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52" y="6405036"/>
            <a:ext cx="1482049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5710380" y="6611986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898989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898989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90277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6" r:id="rId2"/>
    <p:sldLayoutId id="2147483706" r:id="rId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621" y="172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1" y="172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>
          <a:xfrm>
            <a:off x="54" y="0"/>
            <a:ext cx="158751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53" y="6443508"/>
            <a:ext cx="1482049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733626" y="6635073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685800">
              <a:defRPr/>
            </a:pPr>
            <a:fld id="{DFCF27A5-1A5B-48D3-A060-2758FFBB1ADD}" type="slidenum">
              <a:rPr lang="en-US" sz="900" smtClean="0">
                <a:solidFill>
                  <a:srgbClr val="898989"/>
                </a:solidFill>
                <a:sym typeface="+mn-lt"/>
              </a:rPr>
              <a:pPr algn="ctr" defTabSz="685800">
                <a:defRPr/>
              </a:pPr>
              <a:t>‹#›</a:t>
            </a:fld>
            <a:endParaRPr lang="en-US" sz="900" dirty="0">
              <a:solidFill>
                <a:srgbClr val="898989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51591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13300" indent="-1296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83400" indent="-1242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685800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lang="en-US" sz="12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lang="en-US" sz="12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02406" indent="-114300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lang="en-US" sz="12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lang="en-US" sz="33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lang="en-US" sz="405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lang="en-US" sz="18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mailto:Nicholas.bryan@nhs.net" TargetMode="Externa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mailto:jimmymir@nhs.net" TargetMode="External"/><Relationship Id="rId3" Type="http://schemas.openxmlformats.org/officeDocument/2006/relationships/hyperlink" Target="mailto:clcht.spa@nhs.net" TargetMode="External"/><Relationship Id="rId7" Type="http://schemas.openxmlformats.org/officeDocument/2006/relationships/hyperlink" Target="mailto:referralsmeadowhouse@nhs.net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andreacuff@nhs.net" TargetMode="External"/><Relationship Id="rId11" Type="http://schemas.openxmlformats.org/officeDocument/2006/relationships/hyperlink" Target="mailto:treena.saini@nhs.net" TargetMode="External"/><Relationship Id="rId5" Type="http://schemas.openxmlformats.org/officeDocument/2006/relationships/hyperlink" Target="mailto:Cynthia.lever@nhs.net" TargetMode="External"/><Relationship Id="rId10" Type="http://schemas.openxmlformats.org/officeDocument/2006/relationships/hyperlink" Target="mailto:geraldine.nevin@nhs.net" TargetMode="External"/><Relationship Id="rId4" Type="http://schemas.openxmlformats.org/officeDocument/2006/relationships/hyperlink" Target="mailto:cathy.saraby@nhs.net" TargetMode="External"/><Relationship Id="rId9" Type="http://schemas.openxmlformats.org/officeDocument/2006/relationships/hyperlink" Target="mailto:jane.cowap@nhs.net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mailto:Melissa.Reddish@hje.org.uk" TargetMode="External"/><Relationship Id="rId13" Type="http://schemas.openxmlformats.org/officeDocument/2006/relationships/hyperlink" Target="mailto:hampstead.hospice@mariecurie.org.uk" TargetMode="External"/><Relationship Id="rId3" Type="http://schemas.openxmlformats.org/officeDocument/2006/relationships/hyperlink" Target="mailto:Clccg.stjohnsreferrals@nhs.net" TargetMode="External"/><Relationship Id="rId7" Type="http://schemas.openxmlformats.org/officeDocument/2006/relationships/hyperlink" Target="mailto:Sue.Hutton@hje.org.uk" TargetMode="External"/><Relationship Id="rId12" Type="http://schemas.openxmlformats.org/officeDocument/2006/relationships/hyperlink" Target="mailto:Inpatientunit.hampsteadhospice@nhs.net" TargetMode="External"/><Relationship Id="rId17" Type="http://schemas.openxmlformats.org/officeDocument/2006/relationships/hyperlink" Target="mailto:Michael.Wright@mariecurie.org.uk" TargetMode="External"/><Relationship Id="rId2" Type="http://schemas.openxmlformats.org/officeDocument/2006/relationships/notesSlide" Target="../notesSlides/notesSlide6.xml"/><Relationship Id="rId16" Type="http://schemas.openxmlformats.org/officeDocument/2006/relationships/hyperlink" Target="mailto:debbie.Ripley@mariecurie.org.uk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Andrew.Gallini@hje.org.uk" TargetMode="External"/><Relationship Id="rId11" Type="http://schemas.openxmlformats.org/officeDocument/2006/relationships/hyperlink" Target="mailto:Jean.Kelly@hje.org.uk" TargetMode="External"/><Relationship Id="rId5" Type="http://schemas.openxmlformats.org/officeDocument/2006/relationships/hyperlink" Target="https://www.stjohnshospice.org.uk/our-care/inpatient-unit/" TargetMode="External"/><Relationship Id="rId15" Type="http://schemas.openxmlformats.org/officeDocument/2006/relationships/hyperlink" Target="mailto:Denise.OMalley@mariecurie.org.uk" TargetMode="External"/><Relationship Id="rId10" Type="http://schemas.openxmlformats.org/officeDocument/2006/relationships/hyperlink" Target="mailto:amanda.baker@hje.org.uk" TargetMode="External"/><Relationship Id="rId4" Type="http://schemas.openxmlformats.org/officeDocument/2006/relationships/hyperlink" Target="mailto:hospice.info@hje.org.uk" TargetMode="External"/><Relationship Id="rId9" Type="http://schemas.openxmlformats.org/officeDocument/2006/relationships/hyperlink" Target="mailto:Alexandra.Rogers@hje.org.uk" TargetMode="External"/><Relationship Id="rId14" Type="http://schemas.openxmlformats.org/officeDocument/2006/relationships/hyperlink" Target="mailto:outpatientunit.hampsteadhospice@nhs.net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arlingtonhospice.org/referrals" TargetMode="External"/><Relationship Id="rId2" Type="http://schemas.openxmlformats.org/officeDocument/2006/relationships/hyperlink" Target="mailto:nhsnwlccg.mshreferrals@nhs.net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scurry@harlingtonhospice.org" TargetMode="External"/><Relationship Id="rId5" Type="http://schemas.openxmlformats.org/officeDocument/2006/relationships/hyperlink" Target="mailto:ros.taylor3@nhs.net" TargetMode="External"/><Relationship Id="rId4" Type="http://schemas.openxmlformats.org/officeDocument/2006/relationships/hyperlink" Target="mailto:julie.wright1@nhs.net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LNWH-tr.referralsstlukes@nhs.net" TargetMode="External"/><Relationship Id="rId7" Type="http://schemas.openxmlformats.org/officeDocument/2006/relationships/hyperlink" Target="mailto:lorrainegilbert@nhs.net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CDaniels@stlukes-hospice.org" TargetMode="External"/><Relationship Id="rId5" Type="http://schemas.openxmlformats.org/officeDocument/2006/relationships/hyperlink" Target="mailto:ureeve@stlukes-hospice.org" TargetMode="External"/><Relationship Id="rId4" Type="http://schemas.openxmlformats.org/officeDocument/2006/relationships/hyperlink" Target="mailto:chanrott@stlukes-hospice.org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mailto:slund@royaltrinityhospice.london" TargetMode="External"/><Relationship Id="rId2" Type="http://schemas.openxmlformats.org/officeDocument/2006/relationships/hyperlink" Target="mailto:rth.referrals@nhs.net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mailto:cquilty@royaltrinityhospice.london" TargetMode="External"/><Relationship Id="rId4" Type="http://schemas.openxmlformats.org/officeDocument/2006/relationships/hyperlink" Target="mailto:hbrewerton@royaltrinityhospice.london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cnwl.nhs.uk/services/community-services/your-life-line-team-hillingdon" TargetMode="External"/><Relationship Id="rId3" Type="http://schemas.openxmlformats.org/officeDocument/2006/relationships/hyperlink" Target="mailto:cnwl-tr.hchcontactcentrerefs@nhs.net" TargetMode="External"/><Relationship Id="rId7" Type="http://schemas.openxmlformats.org/officeDocument/2006/relationships/hyperlink" Target="mailto:cnw-tr.yll247.cnwl@nhs.net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hyperlink" Target="(https:/www.cnwl.nhs.uk/application/files/9715/9593/8689/Your_Life_Line_Team_referral_form.docx)" TargetMode="External"/><Relationship Id="rId11" Type="http://schemas.openxmlformats.org/officeDocument/2006/relationships/hyperlink" Target="mailto:Debbie.Ripley@mariecurie.org.uk" TargetMode="External"/><Relationship Id="rId5" Type="http://schemas.openxmlformats.org/officeDocument/2006/relationships/hyperlink" Target="mailto:kimrice@nhs.net" TargetMode="External"/><Relationship Id="rId10" Type="http://schemas.openxmlformats.org/officeDocument/2006/relationships/hyperlink" Target="mailto:Londonregionaloffice@mariecurie.org.uk" TargetMode="External"/><Relationship Id="rId4" Type="http://schemas.openxmlformats.org/officeDocument/2006/relationships/hyperlink" Target="mailto:barbara.brummen1@nhs.net" TargetMode="External"/><Relationship Id="rId9" Type="http://schemas.openxmlformats.org/officeDocument/2006/relationships/hyperlink" Target="mailto:juliesmith33@nhs.net" TargetMode="Externa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mailto:singlepoint.ofcontact@nhs.net" TargetMode="External"/><Relationship Id="rId13" Type="http://schemas.openxmlformats.org/officeDocument/2006/relationships/hyperlink" Target="mailto:Gillian.quiton@buckinghamshire.gov.uk" TargetMode="External"/><Relationship Id="rId3" Type="http://schemas.openxmlformats.org/officeDocument/2006/relationships/hyperlink" Target="mailto:clcht.barnetdischargespa@nhs.net" TargetMode="External"/><Relationship Id="rId7" Type="http://schemas.openxmlformats.org/officeDocument/2006/relationships/hyperlink" Target="mailto:intaketeam@lbbd.gov.uk" TargetMode="External"/><Relationship Id="rId12" Type="http://schemas.openxmlformats.org/officeDocument/2006/relationships/hyperlink" Target="mailto:cnwl.icehub@nhs.net" TargetMode="External"/><Relationship Id="rId17" Type="http://schemas.openxmlformats.org/officeDocument/2006/relationships/hyperlink" Target="mailto:Bernice.solvey@camden.gov.uk" TargetMode="External"/><Relationship Id="rId2" Type="http://schemas.openxmlformats.org/officeDocument/2006/relationships/notesSlide" Target="../notesSlides/notesSlide9.xml"/><Relationship Id="rId16" Type="http://schemas.openxmlformats.org/officeDocument/2006/relationships/hyperlink" Target="mailto:Asli.ipek@camden.gov.uk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intaketeam@lbbd.gov.uk%20%0abhr-tr.dischargeteamadmin@nhs.net" TargetMode="External"/><Relationship Id="rId11" Type="http://schemas.openxmlformats.org/officeDocument/2006/relationships/hyperlink" Target="mailto:sirch.bristolspa@nhs.net" TargetMode="External"/><Relationship Id="rId5" Type="http://schemas.openxmlformats.org/officeDocument/2006/relationships/hyperlink" Target="mailto:bhr-tr.dischargeteamadmin@nhs.net" TargetMode="External"/><Relationship Id="rId15" Type="http://schemas.openxmlformats.org/officeDocument/2006/relationships/hyperlink" Target="mailto:camdenreferrals.cnwl@nhs.net" TargetMode="External"/><Relationship Id="rId10" Type="http://schemas.openxmlformats.org/officeDocument/2006/relationships/hyperlink" Target="mailto:screeners@bexley.gov.uk" TargetMode="External"/><Relationship Id="rId4" Type="http://schemas.openxmlformats.org/officeDocument/2006/relationships/hyperlink" Target="mailto:liam.furlong@barnet.gov.uk" TargetMode="External"/><Relationship Id="rId9" Type="http://schemas.openxmlformats.org/officeDocument/2006/relationships/hyperlink" Target="mailto:opt-firstpointofcontact@bedford.gov.uk" TargetMode="External"/><Relationship Id="rId14" Type="http://schemas.openxmlformats.org/officeDocument/2006/relationships/hyperlink" Target="mailto:adultearlyhelpteam@buckinghamshire.gov.uk" TargetMode="Externa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mailto:access@hackney.gov.uk" TargetMode="External"/><Relationship Id="rId3" Type="http://schemas.openxmlformats.org/officeDocument/2006/relationships/hyperlink" Target="mailto:croydonadultsupport@croydon.gov.uk" TargetMode="External"/><Relationship Id="rId7" Type="http://schemas.openxmlformats.org/officeDocument/2006/relationships/hyperlink" Target="mailto:huh-tr.spa-discharge@nhs.net" TargetMode="External"/><Relationship Id="rId2" Type="http://schemas.openxmlformats.org/officeDocument/2006/relationships/hyperlink" Target="mailto:adultsduty@cityoflondon.gov.uk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aops.contact.officers@royalgreenwich.gov.uk" TargetMode="External"/><Relationship Id="rId11" Type="http://schemas.openxmlformats.org/officeDocument/2006/relationships/hyperlink" Target="mailto:Beverley.Tarka@haringey.gov.uk" TargetMode="External"/><Relationship Id="rId5" Type="http://schemas.openxmlformats.org/officeDocument/2006/relationships/hyperlink" Target="mailto:socialcaredirect@essex.gov.uk" TargetMode="External"/><Relationship Id="rId10" Type="http://schemas.openxmlformats.org/officeDocument/2006/relationships/hyperlink" Target="mailto:John.Everson@haringey.gov.uk" TargetMode="External"/><Relationship Id="rId4" Type="http://schemas.openxmlformats.org/officeDocument/2006/relationships/hyperlink" Target="mailto:northmid.spa@nhs.net" TargetMode="External"/><Relationship Id="rId9" Type="http://schemas.openxmlformats.org/officeDocument/2006/relationships/hyperlink" Target="mailto:Haringey.spoa@haringey.gov.uk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mailto:adults@kingston.gov.uk" TargetMode="External"/><Relationship Id="rId3" Type="http://schemas.openxmlformats.org/officeDocument/2006/relationships/hyperlink" Target="mailto:HVOOCHospitalsteam@hertfordshire.gov.uk%20ENhSpoc@hertfordshire.gov.uk%20Daryl.Knight@hertfordshire.gov.uk&#160;%20Westherts.dtaspoc@nhs.net" TargetMode="External"/><Relationship Id="rId7" Type="http://schemas.openxmlformats.org/officeDocument/2006/relationships/hyperlink" Target="mailto:social.services@kent.gov.uk" TargetMode="External"/><Relationship Id="rId2" Type="http://schemas.openxmlformats.org/officeDocument/2006/relationships/hyperlink" Target="mailto:nelft.haveringreferrals@nelft.nhs.uk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spoa@islington.gov.uk" TargetMode="External"/><Relationship Id="rId5" Type="http://schemas.openxmlformats.org/officeDocument/2006/relationships/hyperlink" Target="mailto:lesley.marsden@hertfordshire.gov.uk" TargetMode="External"/><Relationship Id="rId10" Type="http://schemas.openxmlformats.org/officeDocument/2006/relationships/hyperlink" Target="mailto:adultsocialcare@lambeth.gov.uk" TargetMode="External"/><Relationship Id="rId4" Type="http://schemas.openxmlformats.org/officeDocument/2006/relationships/hyperlink" Target="mailto:daryl.knight@hertfordshire.gov.uk" TargetMode="External"/><Relationship Id="rId9" Type="http://schemas.openxmlformats.org/officeDocument/2006/relationships/hyperlink" Target="mailto:lamccg.swift@nhs.net" TargetMode="Externa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mailto:adult.care@towerhamlets.gov.uk" TargetMode="External"/><Relationship Id="rId3" Type="http://schemas.openxmlformats.org/officeDocument/2006/relationships/hyperlink" Target="mailto:HospitalToHomeTeam@merton.gov.uk" TargetMode="External"/><Relationship Id="rId7" Type="http://schemas.openxmlformats.org/officeDocument/2006/relationships/hyperlink" Target="mailto:oppdcontactteam@southwark.gov.uk" TargetMode="External"/><Relationship Id="rId2" Type="http://schemas.openxmlformats.org/officeDocument/2006/relationships/hyperlink" Target="mailto:SCAIT@lewisham.gov.uk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adultsocialservices@richmond.gov.uk" TargetMode="External"/><Relationship Id="rId5" Type="http://schemas.openxmlformats.org/officeDocument/2006/relationships/hyperlink" Target="mailto:firstcontact@redbridge.gov.uk" TargetMode="External"/><Relationship Id="rId4" Type="http://schemas.openxmlformats.org/officeDocument/2006/relationships/hyperlink" Target="mailto:bhnt.nuhdischargeteam@nhs.net%0a%20elft.newhamidh@nhs.net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subash.sivarasu@nhs.net" TargetMode="External"/><Relationship Id="rId2" Type="http://schemas.openxmlformats.org/officeDocument/2006/relationships/hyperlink" Target="mailto:lnwh-tr.nwp-dischargehub@nhs.net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mailto:elizabeth.wordsworth@nhs.net" TargetMode="External"/><Relationship Id="rId4" Type="http://schemas.openxmlformats.org/officeDocument/2006/relationships/hyperlink" Target="mailto:imperial.smhdischargehub@nhs.net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mailto:accessteam@wandsworth.gov.uk" TargetMode="External"/><Relationship Id="rId2" Type="http://schemas.openxmlformats.org/officeDocument/2006/relationships/hyperlink" Target="mailto:WFDischargeHub@nelft.nhs.uk" TargetMode="Externa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mailto:dewakimaheswaran@nhs.net" TargetMode="External"/><Relationship Id="rId13" Type="http://schemas.openxmlformats.org/officeDocument/2006/relationships/hyperlink" Target="mailto:rebecca.campbell@nhs.net" TargetMode="External"/><Relationship Id="rId3" Type="http://schemas.openxmlformats.org/officeDocument/2006/relationships/hyperlink" Target="mailto:harrowccg.triage@nhs.net" TargetMode="External"/><Relationship Id="rId7" Type="http://schemas.openxmlformats.org/officeDocument/2006/relationships/hyperlink" Target="mailto:jane.firmley@nhs.net" TargetMode="External"/><Relationship Id="rId12" Type="http://schemas.openxmlformats.org/officeDocument/2006/relationships/hyperlink" Target="mailto:chc.brokerage@nhs.net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cnw-tr.continuingcare@nhs.net" TargetMode="External"/><Relationship Id="rId11" Type="http://schemas.openxmlformats.org/officeDocument/2006/relationships/hyperlink" Target="mailto:chc.dutyteam@nhs.net" TargetMode="External"/><Relationship Id="rId5" Type="http://schemas.openxmlformats.org/officeDocument/2006/relationships/hyperlink" Target="mailto:brokerage.harrow@nhs.net" TargetMode="External"/><Relationship Id="rId10" Type="http://schemas.openxmlformats.org/officeDocument/2006/relationships/hyperlink" Target="mailto:EALCCG.CHCreferrals@nhs.net" TargetMode="External"/><Relationship Id="rId4" Type="http://schemas.openxmlformats.org/officeDocument/2006/relationships/hyperlink" Target="mailto:brokerage.brent@nhs.net" TargetMode="External"/><Relationship Id="rId9" Type="http://schemas.openxmlformats.org/officeDocument/2006/relationships/hyperlink" Target="mailto:Hounslow.commissioning@nhs.net" TargetMode="External"/><Relationship Id="rId14" Type="http://schemas.openxmlformats.org/officeDocument/2006/relationships/hyperlink" Target="mailto:ian.robinson6@nhs.net" TargetMode="Externa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mailto:jamie.morgan1@nhs.net" TargetMode="External"/><Relationship Id="rId13" Type="http://schemas.openxmlformats.org/officeDocument/2006/relationships/hyperlink" Target="mailto:joanna.duke@bupa.com" TargetMode="External"/><Relationship Id="rId3" Type="http://schemas.openxmlformats.org/officeDocument/2006/relationships/hyperlink" Target="mailto:christina.richards2@nhs.net" TargetMode="External"/><Relationship Id="rId7" Type="http://schemas.openxmlformats.org/officeDocument/2006/relationships/hyperlink" Target="mailto:jenking@nhs.net" TargetMode="External"/><Relationship Id="rId12" Type="http://schemas.openxmlformats.org/officeDocument/2006/relationships/hyperlink" Target="mailto:komal.patel3@nhs.net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LindaJ.Simpson@averyhealthcare.co.uk" TargetMode="External"/><Relationship Id="rId11" Type="http://schemas.openxmlformats.org/officeDocument/2006/relationships/hyperlink" Target="Tel:07753460380" TargetMode="External"/><Relationship Id="rId5" Type="http://schemas.openxmlformats.org/officeDocument/2006/relationships/hyperlink" Target="mailto:s.kumar8@nhs.net" TargetMode="External"/><Relationship Id="rId15" Type="http://schemas.openxmlformats.org/officeDocument/2006/relationships/hyperlink" Target="mailto:cnwl.icehub@nhs.net" TargetMode="External"/><Relationship Id="rId10" Type="http://schemas.openxmlformats.org/officeDocument/2006/relationships/hyperlink" Target="mailto:Heather.Constance@careuk.com" TargetMode="External"/><Relationship Id="rId4" Type="http://schemas.openxmlformats.org/officeDocument/2006/relationships/hyperlink" Target="mailto:jacki.hunt@nhs.net" TargetMode="External"/><Relationship Id="rId9" Type="http://schemas.openxmlformats.org/officeDocument/2006/relationships/hyperlink" Target="mailto:peter.wilde@nhs.net" TargetMode="External"/><Relationship Id="rId14" Type="http://schemas.openxmlformats.org/officeDocument/2006/relationships/hyperlink" Target="mailto:brokerage.brent@nhs.net" TargetMode="Externa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mailto:jacki.hunt@nhs.net" TargetMode="External"/><Relationship Id="rId3" Type="http://schemas.openxmlformats.org/officeDocument/2006/relationships/hyperlink" Target="mailto:katherine.murray@nhs.net" TargetMode="External"/><Relationship Id="rId7" Type="http://schemas.openxmlformats.org/officeDocument/2006/relationships/hyperlink" Target="mailto:a.stratton@nhs.net" TargetMode="External"/><Relationship Id="rId2" Type="http://schemas.openxmlformats.org/officeDocument/2006/relationships/hyperlink" Target="mailto:christopher.hilton@nhs.net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philippa.johnson1@nhs.net" TargetMode="External"/><Relationship Id="rId5" Type="http://schemas.openxmlformats.org/officeDocument/2006/relationships/hyperlink" Target="mailto:james.benson1@nhs.net" TargetMode="External"/><Relationship Id="rId4" Type="http://schemas.openxmlformats.org/officeDocument/2006/relationships/hyperlink" Target="mailto:graeme.caul@nhs.net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Chris.nowicki@nhs.net" TargetMode="External"/><Relationship Id="rId2" Type="http://schemas.openxmlformats.org/officeDocument/2006/relationships/hyperlink" Target="mailto:Ealingcommunity.referrals@nhs.net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mailto:rachael.hines@nhs.net" TargetMode="External"/><Relationship Id="rId4" Type="http://schemas.openxmlformats.org/officeDocument/2006/relationships/hyperlink" Target="mailto:wlm-tr.ecpehdischargehub@nhs.net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mailto:lnwh-tr.nwp-dischargehub@nhs.net" TargetMode="External"/><Relationship Id="rId2" Type="http://schemas.openxmlformats.org/officeDocument/2006/relationships/hyperlink" Target="mailto:imperial.hhdischargehub@nhs.net" TargetMode="External"/><Relationship Id="rId1" Type="http://schemas.openxmlformats.org/officeDocument/2006/relationships/slideLayout" Target="../slideLayouts/slideLayout3.xml"/><Relationship Id="rId4" Type="http://schemas.openxmlformats.org/officeDocument/2006/relationships/hyperlink" Target="mailto:subash.sivarasu@nhs.net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mailto:a.rule@nhs.net" TargetMode="External"/><Relationship Id="rId3" Type="http://schemas.openxmlformats.org/officeDocument/2006/relationships/hyperlink" Target="mailto:Christina.richards2@nhs.net" TargetMode="External"/><Relationship Id="rId7" Type="http://schemas.openxmlformats.org/officeDocument/2006/relationships/hyperlink" Target="mailto:imperial.cxhdischargehub@nhs.net" TargetMode="External"/><Relationship Id="rId2" Type="http://schemas.openxmlformats.org/officeDocument/2006/relationships/hyperlink" Target="mailto:hrch.wmdischargehub@nhs.net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jamie.morgan1@nhs.net" TargetMode="External"/><Relationship Id="rId5" Type="http://schemas.openxmlformats.org/officeDocument/2006/relationships/hyperlink" Target="mailto:jenking@nhs.net" TargetMode="External"/><Relationship Id="rId4" Type="http://schemas.openxmlformats.org/officeDocument/2006/relationships/hyperlink" Target="mailto:thh-tr.dischargeteam@nhs.net" TargetMode="External"/><Relationship Id="rId9" Type="http://schemas.openxmlformats.org/officeDocument/2006/relationships/hyperlink" Target="mailto:jivan.sharma@nhs.net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mailto:alison.evans2@nhs.net" TargetMode="External"/><Relationship Id="rId3" Type="http://schemas.openxmlformats.org/officeDocument/2006/relationships/hyperlink" Target="mailto:Amy.Manji@brent.gov.uk" TargetMode="External"/><Relationship Id="rId7" Type="http://schemas.openxmlformats.org/officeDocument/2006/relationships/hyperlink" Target="mailto:mwhite1@westminster.gov.uk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dbarry@westminster.gov.uk" TargetMode="External"/><Relationship Id="rId11" Type="http://schemas.openxmlformats.org/officeDocument/2006/relationships/hyperlink" Target="mailto:visva.sathasivam@rbkc.gov.uk" TargetMode="External"/><Relationship Id="rId5" Type="http://schemas.openxmlformats.org/officeDocument/2006/relationships/hyperlink" Target="mailto:phil.porter@brent.gov.uk" TargetMode="External"/><Relationship Id="rId10" Type="http://schemas.openxmlformats.org/officeDocument/2006/relationships/hyperlink" Target="mailto:bflaherty@westminster.gov.uk" TargetMode="External"/><Relationship Id="rId4" Type="http://schemas.openxmlformats.org/officeDocument/2006/relationships/hyperlink" Target="mailto:HospitalDischargeTeam@brent.gov.uk" TargetMode="External"/><Relationship Id="rId9" Type="http://schemas.openxmlformats.org/officeDocument/2006/relationships/hyperlink" Target="mailto:ncooper@westminster.gov.uk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mailto:Linda.Jackson@lbhf.gov.uk" TargetMode="External"/><Relationship Id="rId3" Type="http://schemas.openxmlformats.org/officeDocument/2006/relationships/hyperlink" Target="mailto:AppahD@ealing.gov.uk" TargetMode="External"/><Relationship Id="rId7" Type="http://schemas.openxmlformats.org/officeDocument/2006/relationships/hyperlink" Target="mailto:dbarry@westminster.gov.uk" TargetMode="External"/><Relationship Id="rId12" Type="http://schemas.openxmlformats.org/officeDocument/2006/relationships/hyperlink" Target="mailto:Lisa.Redfern@lbhf.gov.uk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StevensK@ealing.gov.uk" TargetMode="External"/><Relationship Id="rId11" Type="http://schemas.openxmlformats.org/officeDocument/2006/relationships/hyperlink" Target="mailto:Aferdita.Koka@lbhf.gov.uk" TargetMode="External"/><Relationship Id="rId5" Type="http://schemas.openxmlformats.org/officeDocument/2006/relationships/hyperlink" Target="mailto:yatesj@ealing.gov.uk" TargetMode="External"/><Relationship Id="rId10" Type="http://schemas.openxmlformats.org/officeDocument/2006/relationships/hyperlink" Target="mailto:Giada.Zanichelli@lbhf.gov.uk" TargetMode="External"/><Relationship Id="rId4" Type="http://schemas.openxmlformats.org/officeDocument/2006/relationships/hyperlink" Target="mailto:manud@ealing.gov.uk" TargetMode="External"/><Relationship Id="rId9" Type="http://schemas.openxmlformats.org/officeDocument/2006/relationships/hyperlink" Target="mailto:mwhite1@westminster.gov.uk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mailto:david.thangarajah@hounslow.gov.uk" TargetMode="External"/><Relationship Id="rId3" Type="http://schemas.openxmlformats.org/officeDocument/2006/relationships/hyperlink" Target="mailto:Samantha.procter@harrow.gov.uk" TargetMode="External"/><Relationship Id="rId7" Type="http://schemas.openxmlformats.org/officeDocument/2006/relationships/hyperlink" Target="mailto:Andrew.shirras@hounslow.gov.uk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kelly.goater@hounslow.gov.uk" TargetMode="External"/><Relationship Id="rId11" Type="http://schemas.openxmlformats.org/officeDocument/2006/relationships/hyperlink" Target="mailto:staylor@hillingdon.gov.uk" TargetMode="External"/><Relationship Id="rId5" Type="http://schemas.openxmlformats.org/officeDocument/2006/relationships/hyperlink" Target="mailto:Angela.Morris@harrow.gov.uk" TargetMode="External"/><Relationship Id="rId10" Type="http://schemas.openxmlformats.org/officeDocument/2006/relationships/hyperlink" Target="mailto:gfernandez@hillingdon.gov.uk" TargetMode="External"/><Relationship Id="rId4" Type="http://schemas.openxmlformats.org/officeDocument/2006/relationships/hyperlink" Target="mailto:Susan.wambugu@harrow.gov.uk" TargetMode="External"/><Relationship Id="rId9" Type="http://schemas.openxmlformats.org/officeDocument/2006/relationships/hyperlink" Target="mailto:Steven.forbes@hounslow.gov.uk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mailto:opsouthhospitals@rbkc.gov.uk" TargetMode="External"/><Relationship Id="rId3" Type="http://schemas.openxmlformats.org/officeDocument/2006/relationships/hyperlink" Target="mailto:dbarry@westminster.gov.uk" TargetMode="External"/><Relationship Id="rId7" Type="http://schemas.openxmlformats.org/officeDocument/2006/relationships/hyperlink" Target="mailto:aleksandra.gruszka@rbkc.gov.uk" TargetMode="External"/><Relationship Id="rId12" Type="http://schemas.openxmlformats.org/officeDocument/2006/relationships/hyperlink" Target="mailto:Aleksandra.Gruszka@rbkc.gov.uk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hillary.harris@rbkc.gov.uk" TargetMode="External"/><Relationship Id="rId11" Type="http://schemas.openxmlformats.org/officeDocument/2006/relationships/hyperlink" Target="mailto:Hillary.Harris@rbkc.gov.uk" TargetMode="External"/><Relationship Id="rId5" Type="http://schemas.openxmlformats.org/officeDocument/2006/relationships/hyperlink" Target="mailto:tim.Gorvett@rbkc.gov.uk" TargetMode="External"/><Relationship Id="rId10" Type="http://schemas.openxmlformats.org/officeDocument/2006/relationships/hyperlink" Target="mailto:visva.sathasivam@rbkc.gov.uk" TargetMode="External"/><Relationship Id="rId4" Type="http://schemas.openxmlformats.org/officeDocument/2006/relationships/hyperlink" Target="mailto:mwhite1@westminster.gov.uk" TargetMode="External"/><Relationship Id="rId9" Type="http://schemas.openxmlformats.org/officeDocument/2006/relationships/hyperlink" Target="mailto:bflaherty@westminster.gov.uk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GB" sz="2000" b="1" dirty="0"/>
              <a:t>Index</a:t>
            </a:r>
          </a:p>
          <a:p>
            <a:endParaRPr lang="en-GB" sz="2000" dirty="0"/>
          </a:p>
          <a:p>
            <a:r>
              <a:rPr lang="en-GB" sz="2000" dirty="0"/>
              <a:t>1. Discharge Hubs (Slides 2 – 5)</a:t>
            </a:r>
          </a:p>
          <a:p>
            <a:r>
              <a:rPr lang="en-GB" sz="2000" dirty="0"/>
              <a:t>2. Local Authority Teams (Slides 6 – 9)</a:t>
            </a:r>
          </a:p>
          <a:p>
            <a:r>
              <a:rPr lang="en-GB" sz="2000" dirty="0"/>
              <a:t>3. Hospices (Slides 10 – 14)</a:t>
            </a:r>
          </a:p>
          <a:p>
            <a:r>
              <a:rPr lang="en-GB" sz="2000" dirty="0"/>
              <a:t>4. Community Specialist Palliative Care (SPC) Services (Slide 15)</a:t>
            </a:r>
          </a:p>
          <a:p>
            <a:r>
              <a:rPr lang="en-GB" sz="2000" dirty="0"/>
              <a:t>5. Out of Area Contacts (Slides 16 - 20)</a:t>
            </a:r>
          </a:p>
          <a:p>
            <a:r>
              <a:rPr lang="en-GB" sz="2000" dirty="0"/>
              <a:t>6. CHC (Slide 21)</a:t>
            </a:r>
          </a:p>
          <a:p>
            <a:r>
              <a:rPr lang="en-GB" sz="2000" dirty="0"/>
              <a:t>7. Community Rehabilitation Bed Units (Slide 22)</a:t>
            </a:r>
          </a:p>
          <a:p>
            <a:r>
              <a:rPr lang="en-GB" sz="2000" dirty="0"/>
              <a:t>8. Responsible Community Provider Directors (Slide 23)</a:t>
            </a:r>
          </a:p>
          <a:p>
            <a:endParaRPr lang="en-GB" sz="2000" dirty="0"/>
          </a:p>
          <a:p>
            <a:r>
              <a:rPr lang="en-GB" sz="2000" b="1" dirty="0"/>
              <a:t>Any comments, suggestions or changes to this document to be sent to</a:t>
            </a:r>
            <a:r>
              <a:rPr lang="en-GB" sz="2400" dirty="0"/>
              <a:t> </a:t>
            </a:r>
            <a:r>
              <a:rPr lang="en-GB" sz="2400" dirty="0">
                <a:hlinkClick r:id="rId2"/>
              </a:rPr>
              <a:t>Nicholas.bryan@nhs.net</a:t>
            </a:r>
            <a:r>
              <a:rPr lang="en-GB" sz="2400" dirty="0"/>
              <a:t>  </a:t>
            </a:r>
          </a:p>
          <a:p>
            <a:endParaRPr lang="en-GB" sz="2000" dirty="0"/>
          </a:p>
        </p:txBody>
      </p:sp>
      <p:sp>
        <p:nvSpPr>
          <p:cNvPr id="5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sz="2800" b="1" dirty="0">
                <a:solidFill>
                  <a:schemeClr val="tx1"/>
                </a:solidFill>
              </a:rPr>
              <a:t>NWL Sector Contacts List (beds, hospices and discharge)</a:t>
            </a:r>
            <a:br>
              <a:rPr lang="en-GB" sz="2800" b="1" dirty="0">
                <a:solidFill>
                  <a:schemeClr val="tx1"/>
                </a:solidFill>
              </a:rPr>
            </a:br>
            <a:r>
              <a:rPr lang="en-GB" sz="2800" b="1" dirty="0">
                <a:solidFill>
                  <a:schemeClr val="tx1"/>
                </a:solidFill>
              </a:rPr>
              <a:t>Version 7 </a:t>
            </a:r>
            <a:endParaRPr lang="en-GB" sz="2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0481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3978612406"/>
              </p:ext>
            </p:extLst>
          </p:nvPr>
        </p:nvGraphicFramePr>
        <p:xfrm>
          <a:off x="355989" y="956510"/>
          <a:ext cx="11579337" cy="502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037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756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1771">
                <a:tc>
                  <a:txBody>
                    <a:bodyPr/>
                    <a:lstStyle/>
                    <a:p>
                      <a:r>
                        <a:rPr lang="en-GB" dirty="0"/>
                        <a:t>Hosp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Conta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1574">
                <a:tc>
                  <a:txBody>
                    <a:bodyPr/>
                    <a:lstStyle/>
                    <a:p>
                      <a:r>
                        <a:rPr lang="en-GB" sz="1400" b="1" dirty="0"/>
                        <a:t>Pembridge</a:t>
                      </a:r>
                      <a:r>
                        <a:rPr lang="en-GB" sz="1400" b="1" baseline="0" dirty="0"/>
                        <a:t> Hospice Community Service:</a:t>
                      </a:r>
                      <a:endParaRPr lang="en-GB" sz="1400" b="1" dirty="0"/>
                    </a:p>
                    <a:p>
                      <a:r>
                        <a:rPr lang="en-GB" sz="1400" dirty="0"/>
                        <a:t>St Charles Centre for Health and Wellbeing, Exmoor Street,</a:t>
                      </a:r>
                    </a:p>
                    <a:p>
                      <a:r>
                        <a:rPr lang="en-GB" sz="1400" dirty="0"/>
                        <a:t>W10 6DZ</a:t>
                      </a:r>
                    </a:p>
                    <a:p>
                      <a:r>
                        <a:rPr lang="en-GB" sz="1400" dirty="0">
                          <a:solidFill>
                            <a:srgbClr val="FF0000"/>
                          </a:solidFill>
                        </a:rPr>
                        <a:t>Inpatient unit – suspended</a:t>
                      </a:r>
                    </a:p>
                    <a:p>
                      <a:r>
                        <a:rPr lang="en-GB" sz="1400" dirty="0">
                          <a:solidFill>
                            <a:srgbClr val="FF0000"/>
                          </a:solidFill>
                        </a:rPr>
                        <a:t>Community SPC team</a:t>
                      </a:r>
                      <a:r>
                        <a:rPr lang="en-GB" sz="1400" baseline="0" dirty="0">
                          <a:solidFill>
                            <a:srgbClr val="FF0000"/>
                          </a:solidFill>
                        </a:rPr>
                        <a:t> in full operation</a:t>
                      </a:r>
                      <a:endParaRPr lang="en-GB" sz="1400" dirty="0"/>
                    </a:p>
                    <a:p>
                      <a:endParaRPr lang="en-GB" sz="1400" dirty="0"/>
                    </a:p>
                    <a:p>
                      <a:endParaRPr lang="en-GB" sz="1400" dirty="0"/>
                    </a:p>
                    <a:p>
                      <a:r>
                        <a:rPr lang="en-GB" sz="1400" dirty="0"/>
                        <a:t>(CCGs covered Tri-borough and Brent</a:t>
                      </a:r>
                      <a:r>
                        <a:rPr lang="en-GB" sz="1400" baseline="0" dirty="0"/>
                        <a:t> - </a:t>
                      </a:r>
                      <a:r>
                        <a:rPr lang="en-GB" sz="1400" dirty="0"/>
                        <a:t>South Brent,</a:t>
                      </a:r>
                      <a:r>
                        <a:rPr lang="en-GB" sz="1400" baseline="0" dirty="0"/>
                        <a:t> </a:t>
                      </a:r>
                      <a:r>
                        <a:rPr lang="en-GB" sz="1400" dirty="0"/>
                        <a:t>H&amp;F: W12, W6 Part,W11 Part,W14 Part; C&amp;W: W10,W9 Part,W2 Part,W11 Part)</a:t>
                      </a:r>
                    </a:p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/7 referrals</a:t>
                      </a:r>
                      <a:r>
                        <a:rPr lang="en-GB" sz="1400" b="1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d advice: </a:t>
                      </a: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</a:t>
                      </a:r>
                      <a:r>
                        <a:rPr lang="en-GB" sz="1400" b="1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20 8102 5000 / 5383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ail: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clcht.spa@nhs.net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ads: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thy </a:t>
                      </a:r>
                      <a:r>
                        <a:rPr lang="en-GB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raby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spice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anager)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cathy.saraby@nhs.net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20 8102 5368 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Mobile: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775 601867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ynthia Lever - Community SPC Team Lead -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Cynthia.lever@nhs.net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bile: 07919555199 Office: 02081025383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rea Cuff 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CHT Operations Lead)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6"/>
                        </a:rPr>
                        <a:t>andreacuff@nhs.net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bile: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508 60186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67998">
                <a:tc>
                  <a:txBody>
                    <a:bodyPr/>
                    <a:lstStyle/>
                    <a:p>
                      <a:r>
                        <a:rPr lang="en-GB" sz="1400" dirty="0"/>
                        <a:t>Meadow</a:t>
                      </a:r>
                      <a:r>
                        <a:rPr lang="en-GB" sz="1400" baseline="0" dirty="0"/>
                        <a:t> House Hospice</a:t>
                      </a:r>
                    </a:p>
                    <a:p>
                      <a:r>
                        <a:rPr lang="en-GB" sz="1400" baseline="0" dirty="0"/>
                        <a:t>Ealing Hospital, Uxbridge Road Southall Middlesex</a:t>
                      </a:r>
                    </a:p>
                    <a:p>
                      <a:r>
                        <a:rPr lang="en-GB" sz="1400" baseline="0" dirty="0"/>
                        <a:t>UB1 3HW</a:t>
                      </a:r>
                    </a:p>
                    <a:p>
                      <a:endParaRPr lang="en-GB" sz="1400" baseline="0" dirty="0"/>
                    </a:p>
                    <a:p>
                      <a:r>
                        <a:rPr lang="en-GB" sz="1400" baseline="0" dirty="0"/>
                        <a:t>(CCGs covered: Ealing and Hounslow)</a:t>
                      </a:r>
                    </a:p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 referrals: Tel: 020 8967 5179 </a:t>
                      </a:r>
                    </a:p>
                    <a:p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ferrals to be emailed to</a:t>
                      </a:r>
                      <a:r>
                        <a:rPr lang="en-GB" sz="1400" b="1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referralsmeadowhouse@nhs.net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1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ads:</a:t>
                      </a:r>
                      <a:r>
                        <a:rPr lang="en-GB" sz="1400" b="1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immy Mir 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I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patient Unit Lead)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jimmymir@nhs.net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ane </a:t>
                      </a:r>
                      <a:r>
                        <a:rPr lang="en-GB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wap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dical Director)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/>
                        </a:rPr>
                        <a:t> jane.cowap@nhs.net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raldine </a:t>
                      </a:r>
                      <a:r>
                        <a:rPr lang="en-GB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vin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Community SPC Team Lead)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geraldine.nevin@nhs.net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eena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aini 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C consultant for Meadow House)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treena.saini@nhs.net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55988" y="208547"/>
            <a:ext cx="11579337" cy="555457"/>
          </a:xfrm>
        </p:spPr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Hospice and community-based specialist palliative care teams contacts</a:t>
            </a:r>
          </a:p>
        </p:txBody>
      </p:sp>
    </p:spTree>
    <p:extLst>
      <p:ext uri="{BB962C8B-B14F-4D97-AF65-F5344CB8AC3E}">
        <p14:creationId xmlns:p14="http://schemas.microsoft.com/office/powerpoint/2010/main" val="4790481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988" y="288758"/>
            <a:ext cx="11483085" cy="315595"/>
          </a:xfrm>
        </p:spPr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Hospice and community-based specialist palliative care teams contact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1655890158"/>
              </p:ext>
            </p:extLst>
          </p:nvPr>
        </p:nvGraphicFramePr>
        <p:xfrm>
          <a:off x="176463" y="604353"/>
          <a:ext cx="11823032" cy="5857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474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756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Hosp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Conta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/>
                        <a:t>St John’s Hospice</a:t>
                      </a:r>
                    </a:p>
                    <a:p>
                      <a:r>
                        <a:rPr lang="en-GB" sz="1400" dirty="0"/>
                        <a:t>60 Grove End Road</a:t>
                      </a:r>
                    </a:p>
                    <a:p>
                      <a:r>
                        <a:rPr lang="en-GB" sz="1400" dirty="0"/>
                        <a:t>St</a:t>
                      </a:r>
                      <a:r>
                        <a:rPr lang="en-GB" sz="1400" baseline="0" dirty="0"/>
                        <a:t> John’s Wood</a:t>
                      </a:r>
                      <a:endParaRPr lang="en-GB" sz="1400" dirty="0"/>
                    </a:p>
                    <a:p>
                      <a:r>
                        <a:rPr lang="en-GB" sz="1400" dirty="0"/>
                        <a:t>NW8 9NH</a:t>
                      </a:r>
                    </a:p>
                    <a:p>
                      <a:endParaRPr lang="en-GB" sz="1400" dirty="0"/>
                    </a:p>
                    <a:p>
                      <a:r>
                        <a:rPr lang="en-GB" sz="1400" dirty="0"/>
                        <a:t>Main switchboard</a:t>
                      </a:r>
                    </a:p>
                    <a:p>
                      <a:r>
                        <a:rPr lang="en-GB" sz="1400" dirty="0"/>
                        <a:t>Tel: 020 7806 4040 </a:t>
                      </a:r>
                    </a:p>
                    <a:p>
                      <a:endParaRPr lang="en-GB" sz="1400" dirty="0"/>
                    </a:p>
                    <a:p>
                      <a:r>
                        <a:rPr lang="en-GB" sz="1400" dirty="0"/>
                        <a:t>Boroughs covered: Community service: some of Central London</a:t>
                      </a:r>
                    </a:p>
                    <a:p>
                      <a:r>
                        <a:rPr lang="en-GB" sz="1400" dirty="0"/>
                        <a:t>Inpatient services: Brent, Camden, Central London, Islington, West London, Hammersmith &amp; Fulh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 Referrals</a:t>
                      </a:r>
                      <a:r>
                        <a:rPr lang="en-GB" sz="1400" b="1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20 7806 4040 /4833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 Referrals</a:t>
                      </a:r>
                      <a:r>
                        <a:rPr lang="en-GB" sz="1400" b="1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: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Clccg.stjohnsreferrals@nhs.net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 </a:t>
                      </a:r>
                      <a:r>
                        <a:rPr lang="en-GB" sz="1400" dirty="0">
                          <a:hlinkClick r:id="rId4"/>
                        </a:rPr>
                        <a:t>hospice.info@hje.org.uk</a:t>
                      </a:r>
                      <a:endParaRPr lang="en-GB" sz="140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hlinkClick r:id="rId5"/>
                        </a:rPr>
                        <a:t>https://www.stjohnshospice.org.uk/our-care/inpatient-unit/</a:t>
                      </a:r>
                      <a:endParaRPr lang="en-GB" sz="140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dirty="0"/>
                    </a:p>
                    <a:p>
                      <a:r>
                        <a:rPr lang="en-GB" sz="1400" b="1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ads:</a:t>
                      </a:r>
                      <a:r>
                        <a:rPr lang="en-GB" sz="1400" b="1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rew </a:t>
                      </a:r>
                      <a:r>
                        <a:rPr lang="en-GB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llini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irector of Nursing / Hospice Manager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6"/>
                        </a:rPr>
                        <a:t> Andrew.Gallini@hje.org.uk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e Hutton (Assistant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irector of Nursing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 Sue.Hutton@hje.org.uk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lissa Reddish 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munity SPC team lead)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 Melissa.Reddish@hje.org.uk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R Alex Rogers 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dical </a:t>
                      </a:r>
                      <a:r>
                        <a:rPr lang="en-GB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irector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/>
                        </a:rPr>
                        <a:t> Alexandra.Rogers@hje.org.uk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anda Baker 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I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patient unit queries)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 amanda.baker@hje.org.uk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ean Kelly  (</a:t>
                      </a:r>
                      <a:r>
                        <a:rPr lang="en-GB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spice@Home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eam)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 Jean.Kelly@hje.org.uk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/>
                        <a:t>Marie Curie Hospice,</a:t>
                      </a:r>
                      <a:r>
                        <a:rPr lang="en-GB" sz="1400" b="1" baseline="0" dirty="0"/>
                        <a:t> Hampstead</a:t>
                      </a:r>
                    </a:p>
                    <a:p>
                      <a:r>
                        <a:rPr lang="en-GB" sz="1400" baseline="0" dirty="0"/>
                        <a:t>11 Lyndhurst Gardens</a:t>
                      </a:r>
                    </a:p>
                    <a:p>
                      <a:r>
                        <a:rPr lang="en-GB" sz="1400" baseline="0" dirty="0"/>
                        <a:t>NW3 5NS</a:t>
                      </a:r>
                    </a:p>
                    <a:p>
                      <a:r>
                        <a:rPr lang="en-GB" sz="1400" baseline="0" dirty="0"/>
                        <a:t>Referrals</a:t>
                      </a:r>
                    </a:p>
                    <a:p>
                      <a:endParaRPr lang="en-GB" sz="1400" baseline="0" dirty="0"/>
                    </a:p>
                    <a:p>
                      <a:r>
                        <a:rPr lang="en-GB" sz="1400" baseline="0" dirty="0"/>
                        <a:t>Borough covered: Br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 referrals: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 7853 3400 (including for access to Hospice inpatient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unit manager)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ferrals to:</a:t>
                      </a:r>
                    </a:p>
                    <a:p>
                      <a:r>
                        <a:rPr lang="en-US" sz="1400" u="sng" dirty="0">
                          <a:solidFill>
                            <a:srgbClr val="0000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  <a:hlinkClick r:id="rId12"/>
                        </a:rPr>
                        <a:t>Inpatientunit.hampsteadhospice@nhs.net</a:t>
                      </a:r>
                      <a:endParaRPr lang="en-GB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r>
                        <a:rPr lang="en-US" sz="1400" u="sng" dirty="0">
                          <a:solidFill>
                            <a:srgbClr val="0000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  <a:hlinkClick r:id="rId13"/>
                        </a:rPr>
                        <a:t>hampstead.hospice@mariecurie.org.uk</a:t>
                      </a:r>
                      <a:endParaRPr lang="en-US" sz="1400" u="sng" dirty="0">
                        <a:solidFill>
                          <a:srgbClr val="0000FF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GB" sz="1400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ail</a:t>
                      </a:r>
                      <a:r>
                        <a:rPr lang="en-GB" sz="1400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ddress for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utpatient Department – formally known as Day Therapy unit at Hampstead Hospice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4"/>
                        </a:rPr>
                        <a:t>outpatientunit.hampsteadhospice@nhs.net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200" u="non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1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ads</a:t>
                      </a:r>
                    </a:p>
                    <a:p>
                      <a:r>
                        <a:rPr lang="en-GB" sz="1400" b="0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nise O’Malley (Head of Quality) </a:t>
                      </a:r>
                      <a:r>
                        <a:rPr lang="en-GB" sz="1400" b="0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5"/>
                        </a:rPr>
                        <a:t>Denise.OMalley@mariecurie.org.uk</a:t>
                      </a:r>
                      <a:r>
                        <a:rPr lang="en-GB" sz="1400" b="0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r>
                        <a:rPr lang="en-GB" sz="1400" b="0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bbie Ripley (Associate Director Strategic Partnerships and Services London) </a:t>
                      </a:r>
                      <a:r>
                        <a:rPr lang="en-GB" sz="1400" b="0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6"/>
                        </a:rPr>
                        <a:t>debbie.Ripley@mariecurie.org.uk</a:t>
                      </a:r>
                      <a:endParaRPr lang="en-GB" sz="1400" b="0" u="none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0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chael Wright (London Business Manager) </a:t>
                      </a:r>
                      <a:r>
                        <a:rPr lang="en-GB" sz="1400" b="0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7"/>
                        </a:rPr>
                        <a:t>Michael.Wright@mariecurie.org.uk</a:t>
                      </a:r>
                      <a:endParaRPr lang="en-GB" sz="1400" b="0" u="none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85948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35426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1071414453"/>
              </p:ext>
            </p:extLst>
          </p:nvPr>
        </p:nvGraphicFramePr>
        <p:xfrm>
          <a:off x="372031" y="877070"/>
          <a:ext cx="11499127" cy="5722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52742">
                  <a:extLst>
                    <a:ext uri="{9D8B030D-6E8A-4147-A177-3AD203B41FA5}">
                      <a16:colId xmlns:a16="http://schemas.microsoft.com/office/drawing/2014/main" val="1170792024"/>
                    </a:ext>
                  </a:extLst>
                </a:gridCol>
                <a:gridCol w="8146385">
                  <a:extLst>
                    <a:ext uri="{9D8B030D-6E8A-4147-A177-3AD203B41FA5}">
                      <a16:colId xmlns:a16="http://schemas.microsoft.com/office/drawing/2014/main" val="3091675134"/>
                    </a:ext>
                  </a:extLst>
                </a:gridCol>
              </a:tblGrid>
              <a:tr h="362084">
                <a:tc>
                  <a:txBody>
                    <a:bodyPr/>
                    <a:lstStyle/>
                    <a:p>
                      <a:r>
                        <a:rPr lang="en-GB" dirty="0"/>
                        <a:t>Hosp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Conta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4346472"/>
                  </a:ext>
                </a:extLst>
              </a:tr>
              <a:tr h="53568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chael </a:t>
                      </a:r>
                      <a:r>
                        <a:rPr lang="en-GB" sz="1400" b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bell</a:t>
                      </a: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House (MSH) Inpatient Unit (IPU)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cated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 Mount Vernon Hospital site – provided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y Harlington Hospic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1" dirty="0"/>
                        <a:t>Harlington Hospice</a:t>
                      </a:r>
                    </a:p>
                    <a:p>
                      <a:r>
                        <a:rPr lang="en-GB" sz="1400" dirty="0"/>
                        <a:t>Lansdowne House, St Peters Way, Harlington, Hayes, Middlesex, UB3 5AB</a:t>
                      </a:r>
                    </a:p>
                    <a:p>
                      <a:endParaRPr lang="en-GB" sz="1400" baseline="0" dirty="0"/>
                    </a:p>
                    <a:p>
                      <a:endParaRPr lang="en-GB" sz="1400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400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oroughs covered: Hillingdon)</a:t>
                      </a:r>
                      <a:endParaRPr lang="en-GB" sz="1400" dirty="0"/>
                    </a:p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ferral email:</a:t>
                      </a:r>
                      <a:r>
                        <a:rPr lang="en-GB" sz="1400" dirty="0">
                          <a:solidFill>
                            <a:srgbClr val="212121"/>
                          </a:solidFill>
                          <a:effectLst/>
                          <a:latin typeface=".SFUI-Regular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r>
                        <a:rPr lang="en-GB" sz="1400" u="sng" dirty="0">
                          <a:solidFill>
                            <a:srgbClr val="212121"/>
                          </a:solidFill>
                          <a:effectLst/>
                          <a:latin typeface=".SFUI-Regular"/>
                          <a:ea typeface="Times New Roman" panose="02020603050405020304" pitchFamily="18" charset="0"/>
                          <a:cs typeface="Calibri" panose="020F0502020204030204" pitchFamily="34" charset="0"/>
                          <a:hlinkClick r:id="rId2"/>
                        </a:rPr>
                        <a:t>nhsnwlccg.mshreferrals@nhs.net</a:t>
                      </a:r>
                      <a:endParaRPr lang="en-GB" sz="1400" u="sng" dirty="0">
                        <a:solidFill>
                          <a:srgbClr val="212121"/>
                        </a:solidFill>
                        <a:effectLst/>
                        <a:latin typeface=".SFUI-Regular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n-GB" sz="1400" b="1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/7 referrals</a:t>
                      </a:r>
                      <a:r>
                        <a:rPr lang="en-GB" sz="1400" b="1" kern="1200" baseline="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umber for MSH IPU and Harlington Hospice </a:t>
                      </a:r>
                      <a:r>
                        <a:rPr lang="en-GB" sz="1400" b="1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 020 3824 1268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s number gets through to Louise/Senior Nurse in the day time, and the IPU overnight. Calls will then be escalated to discuss urgent advice/admissions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*Referral needs to be via health care professional**</a:t>
                      </a:r>
                      <a:endParaRPr lang="en-GB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</a:t>
                      </a:r>
                      <a:r>
                        <a:rPr lang="en-GB" sz="1400" b="1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eferrals for </a:t>
                      </a: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rlington Hospice at Home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nday-Friday 08.00 -16.00:  </a:t>
                      </a: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20 8759 0453</a:t>
                      </a:r>
                    </a:p>
                    <a:p>
                      <a:pPr lvl="0"/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fter 16.00 and weekends: </a:t>
                      </a: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793 656804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https://www.harlingtonhospice.org/referrals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1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inical escalation route for Discharge hubs:</a:t>
                      </a:r>
                      <a:endParaRPr lang="en-GB" sz="1400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nior Nurse via the referral phone 020 3824 1268 in the day.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 weekends and overnight - the IPU Nurse can escalate to the Doctor 1st on call /or to the Consultant 2nd  on call. The clinical lead varies from day to day to discuss admissions - usually it is Louise/Carol discussing with the most senior doc available in the week. Out of Hours it will be IPU nurse discussing with on call docs.</a:t>
                      </a:r>
                    </a:p>
                    <a:p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ditional</a:t>
                      </a:r>
                      <a:r>
                        <a:rPr lang="en-GB" sz="1400" u="sng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spice Leads</a:t>
                      </a:r>
                      <a:r>
                        <a:rPr lang="en-GB" sz="1400" u="sng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ntact details (not available 24/7):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ulie Wright (Director of Nursing and Clinical Services) </a:t>
                      </a:r>
                      <a:r>
                        <a:rPr kumimoji="0" lang="en-GB" sz="1400" b="0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hlinkClick r:id="rId4"/>
                        </a:rPr>
                        <a:t>julie.wright1@nhs.net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os</a:t>
                      </a: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Taylor (Medical Director) </a:t>
                      </a:r>
                      <a:r>
                        <a:rPr kumimoji="0" lang="en-GB" sz="1400" b="0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hlinkClick r:id="rId5"/>
                        </a:rPr>
                        <a:t>ros.taylor3@nhs.net</a:t>
                      </a:r>
                      <a:endParaRPr kumimoji="0" lang="en-GB" sz="1400" b="0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eve Curry (CEO) </a:t>
                      </a:r>
                      <a:r>
                        <a:rPr kumimoji="0" lang="en-GB" sz="1400" b="0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hlinkClick r:id="rId6"/>
                        </a:rPr>
                        <a:t>scurry@harlingtonhospice.org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6229264"/>
                  </a:ext>
                </a:extLst>
              </a:tr>
            </a:tbl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72030" y="422923"/>
            <a:ext cx="11819969" cy="315013"/>
          </a:xfrm>
        </p:spPr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Hospice and community-based specialist palliative care teams contacts</a:t>
            </a:r>
          </a:p>
        </p:txBody>
      </p:sp>
    </p:spTree>
    <p:extLst>
      <p:ext uri="{BB962C8B-B14F-4D97-AF65-F5344CB8AC3E}">
        <p14:creationId xmlns:p14="http://schemas.microsoft.com/office/powerpoint/2010/main" val="32289945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2759046723"/>
              </p:ext>
            </p:extLst>
          </p:nvPr>
        </p:nvGraphicFramePr>
        <p:xfrm>
          <a:off x="388073" y="877069"/>
          <a:ext cx="11659547" cy="460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227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7368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Hosp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Conta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/>
                        <a:t>St Luke’s Hospice </a:t>
                      </a:r>
                    </a:p>
                    <a:p>
                      <a:r>
                        <a:rPr lang="en-GB" sz="1400" dirty="0"/>
                        <a:t>Kenton Road, Harrow HA3 0YG</a:t>
                      </a:r>
                    </a:p>
                    <a:p>
                      <a:r>
                        <a:rPr lang="en-GB" sz="1400" dirty="0"/>
                        <a:t>Tel: 020 8382 8000 </a:t>
                      </a:r>
                    </a:p>
                    <a:p>
                      <a:r>
                        <a:rPr lang="en-GB" sz="1400" dirty="0"/>
                        <a:t>Fax: 020 8382 8080</a:t>
                      </a:r>
                    </a:p>
                    <a:p>
                      <a:endParaRPr lang="en-GB" sz="1400" dirty="0"/>
                    </a:p>
                    <a:p>
                      <a:r>
                        <a:rPr lang="en-GB" sz="1400" dirty="0"/>
                        <a:t>Boroughs covered: </a:t>
                      </a:r>
                      <a:r>
                        <a:rPr lang="en-GB" sz="1400" baseline="0" dirty="0"/>
                        <a:t>Harrow and Brent. </a:t>
                      </a:r>
                    </a:p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1" dirty="0"/>
                        <a:t>All</a:t>
                      </a:r>
                      <a:r>
                        <a:rPr lang="en-GB" sz="1400" b="1" baseline="0" dirty="0"/>
                        <a:t> r</a:t>
                      </a:r>
                      <a:r>
                        <a:rPr lang="en-GB" sz="1400" b="1" dirty="0"/>
                        <a:t>eferrals to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LNWH-tr.referralsstlukes@nhs.net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 8382 8013</a:t>
                      </a:r>
                    </a:p>
                    <a:p>
                      <a:r>
                        <a:rPr lang="en-GB" sz="1400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OH</a:t>
                      </a:r>
                      <a:r>
                        <a:rPr lang="en-GB" sz="1400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nquiries: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593135303; 020 8382 8046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u="none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1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patient and day hospice Leads:</a:t>
                      </a:r>
                    </a:p>
                    <a:p>
                      <a:r>
                        <a:rPr lang="en-GB" sz="1400" b="0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thy </a:t>
                      </a:r>
                      <a:r>
                        <a:rPr lang="en-GB" sz="1400" b="0" u="non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nrott</a:t>
                      </a:r>
                      <a:r>
                        <a:rPr lang="en-GB" sz="1400" b="0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b="0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GB" sz="1400" b="0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spice</a:t>
                      </a:r>
                      <a:r>
                        <a:rPr lang="en-GB" sz="1400" b="0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are navigator) - </a:t>
                      </a:r>
                      <a:r>
                        <a:rPr lang="en-GB" sz="1400" b="0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chanrott@stlukes-hospice.org</a:t>
                      </a:r>
                      <a:endParaRPr lang="en-GB" sz="1400" b="0" u="none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rsula Reeve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tient experience/ chief nurse)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ureeve@stlukes-hospice.org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arles Daniels (Medical Director/ Consultant)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6"/>
                        </a:rPr>
                        <a:t>CDaniels@stlukes-hospice.org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1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munity SPC teams:</a:t>
                      </a:r>
                      <a:r>
                        <a:rPr lang="en-GB" sz="1400" b="1" u="sng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r>
                        <a:rPr lang="en-GB" sz="1400" b="1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rth Brent Community SPC Team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 Referrals to: </a:t>
                      </a:r>
                      <a:r>
                        <a:rPr lang="en-GB" sz="1400" dirty="0">
                          <a:hlinkClick r:id="rId3"/>
                        </a:rPr>
                        <a:t>LNWH-tr.referralsstlukes@nhs.net</a:t>
                      </a:r>
                      <a:endParaRPr lang="en-GB" sz="1400" dirty="0"/>
                    </a:p>
                    <a:p>
                      <a:r>
                        <a:rPr lang="en-GB" sz="1400" b="0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ads: L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raine Gilbert 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rth Brent Community SPC clinical lead)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lorrainegilbert@nhs.net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20 8382 8019 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/ Mobile: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903 81004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rrow Community SPC</a:t>
                      </a:r>
                      <a:r>
                        <a:rPr lang="en-GB" sz="1400" b="1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</a:t>
                      </a: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am </a:t>
                      </a:r>
                      <a:r>
                        <a:rPr lang="en-GB" sz="1400" b="1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provided by CLCHT)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        </a:t>
                      </a:r>
                    </a:p>
                    <a:p>
                      <a:r>
                        <a:rPr lang="en-GB" sz="1400" dirty="0"/>
                        <a:t>Team based</a:t>
                      </a:r>
                      <a:r>
                        <a:rPr lang="en-GB" sz="1400" baseline="0" dirty="0"/>
                        <a:t> out of</a:t>
                      </a:r>
                      <a:r>
                        <a:rPr lang="en-GB" sz="1400" dirty="0"/>
                        <a:t> St Luke’s Hospice </a:t>
                      </a:r>
                    </a:p>
                    <a:p>
                      <a:r>
                        <a:rPr lang="en-GB" sz="1400" dirty="0"/>
                        <a:t>Boroughs covered: Harr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ferrals to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en-GB" sz="1400" dirty="0"/>
                        <a:t>CLCHT.HarrowPalliativeCare@nhs.ne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 8382 8084 </a:t>
                      </a:r>
                      <a:r>
                        <a:rPr lang="en-GB" sz="1400" dirty="0"/>
                        <a:t>Fax: 020 8382 8085</a:t>
                      </a:r>
                    </a:p>
                    <a:p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5751022"/>
                  </a:ext>
                </a:extLst>
              </a:tr>
            </a:tbl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88072" y="422924"/>
            <a:ext cx="11146201" cy="250844"/>
          </a:xfrm>
        </p:spPr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Hospice and community-based specialist palliative care teams contacts</a:t>
            </a:r>
          </a:p>
        </p:txBody>
      </p:sp>
    </p:spTree>
    <p:extLst>
      <p:ext uri="{BB962C8B-B14F-4D97-AF65-F5344CB8AC3E}">
        <p14:creationId xmlns:p14="http://schemas.microsoft.com/office/powerpoint/2010/main" val="35053959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3442525216"/>
              </p:ext>
            </p:extLst>
          </p:nvPr>
        </p:nvGraphicFramePr>
        <p:xfrm>
          <a:off x="355989" y="877069"/>
          <a:ext cx="11499127" cy="365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347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7643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1992">
                <a:tc>
                  <a:txBody>
                    <a:bodyPr/>
                    <a:lstStyle/>
                    <a:p>
                      <a:r>
                        <a:rPr lang="en-GB" dirty="0"/>
                        <a:t>Hosp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Conta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08265">
                <a:tc>
                  <a:txBody>
                    <a:bodyPr/>
                    <a:lstStyle/>
                    <a:p>
                      <a:r>
                        <a:rPr lang="en-GB" sz="1400" b="1" dirty="0"/>
                        <a:t>Royal Trinity Hospice</a:t>
                      </a:r>
                    </a:p>
                    <a:p>
                      <a:r>
                        <a:rPr lang="en-GB" sz="1400" dirty="0"/>
                        <a:t>Clapham Common </a:t>
                      </a:r>
                    </a:p>
                    <a:p>
                      <a:r>
                        <a:rPr lang="en-GB" sz="1400" dirty="0"/>
                        <a:t>SW4 0RN</a:t>
                      </a:r>
                    </a:p>
                    <a:p>
                      <a:r>
                        <a:rPr lang="en-GB" sz="1400" dirty="0"/>
                        <a:t>Tel: 020 7787 1000 </a:t>
                      </a:r>
                    </a:p>
                    <a:p>
                      <a:r>
                        <a:rPr lang="en-GB" sz="1400" dirty="0"/>
                        <a:t>Fax: 020 7498 9726</a:t>
                      </a:r>
                    </a:p>
                    <a:p>
                      <a:endParaRPr lang="en-GB" sz="1400" dirty="0"/>
                    </a:p>
                    <a:p>
                      <a:endParaRPr lang="en-GB" sz="1400" dirty="0"/>
                    </a:p>
                    <a:p>
                      <a:r>
                        <a:rPr lang="en-GB" sz="1400" dirty="0"/>
                        <a:t>Boroughs covered:</a:t>
                      </a:r>
                      <a:r>
                        <a:rPr lang="en-GB" sz="1400" baseline="0" dirty="0"/>
                        <a:t> 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munity service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some of Central London, some of Hammersmith &amp;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ulham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andsworth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some of West London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patient services: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entral London, Hammersmith &amp;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ulham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andsworth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West London</a:t>
                      </a:r>
                      <a:endParaRPr lang="en-GB" sz="1400" dirty="0"/>
                    </a:p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</a:t>
                      </a:r>
                      <a:r>
                        <a:rPr lang="en-GB" sz="1400" b="1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eferrals: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 7787 1000  - Ref &amp; Admissions Nurse: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el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20 77871065 / </a:t>
                      </a:r>
                      <a:r>
                        <a:rPr lang="en-GB" sz="1400" dirty="0"/>
                        <a:t>Fax: 020 7787 1067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 Referrals emailed</a:t>
                      </a:r>
                      <a:r>
                        <a:rPr lang="en-GB" sz="1400" b="1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</a:t>
                      </a: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"/>
                        </a:rPr>
                        <a:t>rth.referrals@nhs.net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400" dirty="0"/>
                    </a:p>
                    <a:p>
                      <a:r>
                        <a:rPr lang="en-GB" sz="1400" b="1" dirty="0"/>
                        <a:t>Leads: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mantha Lund (Medical Director) </a:t>
                      </a:r>
                      <a:r>
                        <a:rPr lang="en-GB" sz="1400" u="sng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slund@royaltrinityhospice.london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len</a:t>
                      </a:r>
                      <a:r>
                        <a:rPr lang="en-GB" sz="1400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rewerton (Joint Head of Community Services) - </a:t>
                      </a:r>
                      <a:r>
                        <a:rPr lang="en-GB" sz="1400" u="none" kern="1200" baseline="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hbrewerton@royaltrinityhospice.london</a:t>
                      </a:r>
                      <a:r>
                        <a:rPr lang="en-GB" sz="1400" u="none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GB" sz="1400" u="non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dirty="0"/>
                        <a:t>Caroline Quilty (Head of</a:t>
                      </a:r>
                      <a:r>
                        <a:rPr lang="en-GB" sz="1400" baseline="0" dirty="0"/>
                        <a:t> Quality) </a:t>
                      </a:r>
                      <a:r>
                        <a:rPr lang="en-GB" sz="1400" dirty="0" err="1">
                          <a:hlinkClick r:id="rId5"/>
                        </a:rPr>
                        <a:t>cquilty@royaltrinityhospice.london</a:t>
                      </a:r>
                      <a:r>
                        <a:rPr lang="en-GB" sz="1400" dirty="0"/>
                        <a:t> </a:t>
                      </a:r>
                    </a:p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55989" y="390839"/>
            <a:ext cx="11306622" cy="298971"/>
          </a:xfrm>
        </p:spPr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Hospice and community-based specialist palliative care teams contacts</a:t>
            </a:r>
          </a:p>
        </p:txBody>
      </p:sp>
    </p:spTree>
    <p:extLst>
      <p:ext uri="{BB962C8B-B14F-4D97-AF65-F5344CB8AC3E}">
        <p14:creationId xmlns:p14="http://schemas.microsoft.com/office/powerpoint/2010/main" val="1354596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412413898"/>
              </p:ext>
            </p:extLst>
          </p:nvPr>
        </p:nvGraphicFramePr>
        <p:xfrm>
          <a:off x="355989" y="792892"/>
          <a:ext cx="11691631" cy="5974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621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295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3016">
                <a:tc>
                  <a:txBody>
                    <a:bodyPr/>
                    <a:lstStyle/>
                    <a:p>
                      <a:r>
                        <a:rPr lang="en-GB" dirty="0"/>
                        <a:t>Hosp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Conta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685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llingdon Community SPC Team</a:t>
                      </a:r>
                      <a:r>
                        <a:rPr lang="en-GB" sz="1400" b="1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provided by CNWL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err="1"/>
                        <a:t>Pield</a:t>
                      </a:r>
                      <a:r>
                        <a:rPr lang="en-GB" sz="1400" dirty="0"/>
                        <a:t> Heath Road, Uxbridge UB8 3NN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 Referrals: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cnwl-tr.hchcontactcentrerefs@nhs.net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1895 485235 </a:t>
                      </a:r>
                    </a:p>
                    <a:p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UT OF HOURS: 0203 824 1268</a:t>
                      </a:r>
                      <a:endParaRPr lang="en-GB" sz="1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400" b="1" dirty="0"/>
                    </a:p>
                    <a:p>
                      <a:r>
                        <a:rPr lang="en-GB" sz="1400" b="1" dirty="0"/>
                        <a:t>Leads</a:t>
                      </a:r>
                      <a:r>
                        <a:rPr lang="en-GB" sz="1400" dirty="0"/>
                        <a:t>:</a:t>
                      </a:r>
                      <a:r>
                        <a:rPr lang="en-GB" sz="1400" baseline="0" dirty="0"/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rbara </a:t>
                      </a:r>
                      <a:r>
                        <a:rPr lang="en-GB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ummen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SPC team C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nical Team Lead)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barbara.brummen1@nhs.net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im Rice (Adult Community services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am Lead)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 kimrice@nhs.net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9121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llingdon Your Lifeline 24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provided by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NWL)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rbal referrals via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800 328 5697 (preferred)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 via</a:t>
                      </a:r>
                      <a:r>
                        <a:rPr lang="en-GB" sz="1400" baseline="0" dirty="0"/>
                        <a:t> </a:t>
                      </a:r>
                      <a:r>
                        <a:rPr lang="en-GB" sz="1400" dirty="0">
                          <a:hlinkClick r:id="rId6"/>
                        </a:rPr>
                        <a:t>referral form </a:t>
                      </a:r>
                      <a:r>
                        <a:rPr lang="en-GB" sz="1400" dirty="0"/>
                        <a:t>sent</a:t>
                      </a:r>
                      <a:r>
                        <a:rPr lang="en-GB" sz="1400" baseline="0" dirty="0"/>
                        <a:t> to</a:t>
                      </a:r>
                      <a:r>
                        <a:rPr lang="en-GB" sz="1400" dirty="0"/>
                        <a:t> email address:</a:t>
                      </a:r>
                      <a:r>
                        <a:rPr lang="en-GB" sz="1400" baseline="0" dirty="0"/>
                        <a:t> </a:t>
                      </a:r>
                      <a:r>
                        <a:rPr lang="en-GB" sz="1400" dirty="0">
                          <a:hlinkClick r:id="rId7"/>
                        </a:rPr>
                        <a:t>cnw-tr.yll247.cnwl@nhs.net</a:t>
                      </a:r>
                      <a:endParaRPr lang="en-GB" sz="1400" dirty="0"/>
                    </a:p>
                    <a:p>
                      <a:r>
                        <a:rPr lang="en-GB" sz="1400" dirty="0"/>
                        <a:t>Any clinician can refer not just DN or GP but they need to check criteria for a referral beforehand</a:t>
                      </a:r>
                    </a:p>
                    <a:p>
                      <a:r>
                        <a:rPr lang="en-GB" sz="1400" dirty="0">
                          <a:hlinkClick r:id="rId8"/>
                        </a:rPr>
                        <a:t>Your Life Line Team: Hillingdon :: Central and North West London NHS Foundation Trust (cnwl.nhs.uk)</a:t>
                      </a:r>
                      <a:endParaRPr lang="en-GB" sz="1400" dirty="0"/>
                    </a:p>
                    <a:p>
                      <a:endParaRPr lang="en-GB" sz="1400" dirty="0"/>
                    </a:p>
                    <a:p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ad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lie Smith (Clinical Team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ad)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/>
                        </a:rPr>
                        <a:t>juliesmith33@nhs.net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bile: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599 500977</a:t>
                      </a:r>
                    </a:p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38997">
                <a:tc>
                  <a:txBody>
                    <a:bodyPr/>
                    <a:lstStyle/>
                    <a:p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ie Curie London Planned</a:t>
                      </a:r>
                      <a:r>
                        <a:rPr lang="en-GB" sz="1400" b="1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ariable </a:t>
                      </a: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rsing and Rapid Response Services </a:t>
                      </a:r>
                    </a:p>
                    <a:p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roughs covered: Ealing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d Hounslow</a:t>
                      </a:r>
                      <a:endParaRPr lang="en-GB" sz="1400" dirty="0"/>
                    </a:p>
                    <a:p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 referrals: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8 967 5126 / 0203 370 2208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rvice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perates 6pm – 7am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ditional:</a:t>
                      </a:r>
                    </a:p>
                    <a:p>
                      <a:pPr marL="0" algn="l" defTabSz="914400" rtl="0" eaLnBrk="1" latinLnBrk="0" hangingPunct="1"/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f your need to speak to a Clinical member of the team please contact the London Regional Office - 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Londonregionaloffice@mariecurie.org.uk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f your email is regarding Service Development please contact Debbie Ripley -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Debbie.Ripley@mariecurie.org.uk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algn="l" defTabSz="914400" rtl="0" eaLnBrk="1" latinLnBrk="0" hangingPunct="1"/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55989" y="515210"/>
            <a:ext cx="11402874" cy="126474"/>
          </a:xfrm>
        </p:spPr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Hospice and community-based specialist palliative care teams contacts</a:t>
            </a:r>
          </a:p>
        </p:txBody>
      </p:sp>
    </p:spTree>
    <p:extLst>
      <p:ext uri="{BB962C8B-B14F-4D97-AF65-F5344CB8AC3E}">
        <p14:creationId xmlns:p14="http://schemas.microsoft.com/office/powerpoint/2010/main" val="30311639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Out of Area Contact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3067674373"/>
              </p:ext>
            </p:extLst>
          </p:nvPr>
        </p:nvGraphicFramePr>
        <p:xfrm>
          <a:off x="236484" y="977462"/>
          <a:ext cx="11713779" cy="60644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04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045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045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9233">
                <a:tc>
                  <a:txBody>
                    <a:bodyPr/>
                    <a:lstStyle/>
                    <a:p>
                      <a:r>
                        <a:rPr lang="en-GB" dirty="0"/>
                        <a:t>Geograph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ischarge Hub Cont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ocal Authority</a:t>
                      </a:r>
                      <a:r>
                        <a:rPr lang="en-GB" baseline="0" dirty="0"/>
                        <a:t> Contact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84840"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n-lt"/>
                        </a:rPr>
                        <a:t>Barn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clcht.barnetdischargespa@nhs.net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775 017456 </a:t>
                      </a:r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n-lt"/>
                        </a:rPr>
                        <a:t>Liam Furlong 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liam.furlong@barnet.gov.uk</a:t>
                      </a:r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41333"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n-lt"/>
                        </a:rPr>
                        <a:t>Barking &amp; Dagenh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bhr-tr.dischargeteamadmin@nhs.net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20 8227 2915 or 01708 435000 </a:t>
                      </a:r>
                      <a:r>
                        <a:rPr lang="en-GB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t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243 </a:t>
                      </a:r>
                      <a:br>
                        <a:rPr lang="en-GB" sz="1400" u="sng" dirty="0">
                          <a:solidFill>
                            <a:srgbClr val="0563C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hlinkClick r:id="rId6"/>
                        </a:rPr>
                      </a:br>
                      <a:endParaRPr lang="en-GB" sz="14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intaketeam@lbbd.gov.uk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</a:t>
                      </a:r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6296196"/>
                  </a:ext>
                </a:extLst>
              </a:tr>
              <a:tr h="499656"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n-lt"/>
                        </a:rPr>
                        <a:t>Bedfordshi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singlepoint.ofcontact@nhs.net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/>
                        </a:rPr>
                        <a:t>opt-firstpointofcontact@bedford.gov.uk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1234 2674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9190766"/>
                  </a:ext>
                </a:extLst>
              </a:tr>
              <a:tr h="705397"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n-lt"/>
                        </a:rPr>
                        <a:t>Bexle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screeners@bexley.gov.uk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 8303 7777 ask for Screener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OH: 020 8303 7777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5643543"/>
                  </a:ext>
                </a:extLst>
              </a:tr>
              <a:tr h="371908"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n-lt"/>
                        </a:rPr>
                        <a:t>Bristo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sirch.bristolspa@nhs.net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300 125 6789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9723883"/>
                  </a:ext>
                </a:extLst>
              </a:tr>
              <a:tr h="371908"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n-lt"/>
                        </a:rPr>
                        <a:t>Bromle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OH: 0300 303 8671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5327295"/>
                  </a:ext>
                </a:extLst>
              </a:tr>
              <a:tr h="705397"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n-lt"/>
                        </a:rPr>
                        <a:t>Buckinghamshire</a:t>
                      </a:r>
                      <a:r>
                        <a:rPr lang="en-GB" sz="1400" baseline="0" dirty="0">
                          <a:latin typeface="+mn-lt"/>
                        </a:rPr>
                        <a:t> </a:t>
                      </a:r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2"/>
                        </a:rPr>
                        <a:t>cnwl.icehub@nhs.net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3"/>
                        </a:rPr>
                        <a:t>Gillian.quiton@buckinghamshire.gov.uk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4"/>
                        </a:rPr>
                        <a:t>adultearlyhelpteam@buckinghamshire.gov.uk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1494 734477 / 01494 475056</a:t>
                      </a:r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0552731"/>
                  </a:ext>
                </a:extLst>
              </a:tr>
              <a:tr h="797779"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n-lt"/>
                        </a:rPr>
                        <a:t>Camd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5"/>
                        </a:rPr>
                        <a:t>camdenreferrals.cnwl@nhs.net 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 3317 3400</a:t>
                      </a:r>
                    </a:p>
                    <a:p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ad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en-GB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li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baseline="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pek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6"/>
                        </a:rPr>
                        <a:t>Asli.ipek@camden.gov.uk</a:t>
                      </a:r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n-lt"/>
                        </a:rPr>
                        <a:t>Bernice </a:t>
                      </a:r>
                      <a:r>
                        <a:rPr lang="en-GB" sz="1400" dirty="0" err="1">
                          <a:latin typeface="+mn-lt"/>
                        </a:rPr>
                        <a:t>Solvey</a:t>
                      </a:r>
                      <a:endParaRPr lang="en-GB" sz="1400" dirty="0">
                        <a:latin typeface="+mn-lt"/>
                      </a:endParaRPr>
                    </a:p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7"/>
                        </a:rPr>
                        <a:t>Bernice.solvey@camden.gov.uk</a:t>
                      </a:r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75820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537" y="609661"/>
            <a:ext cx="10515600" cy="277682"/>
          </a:xfrm>
        </p:spPr>
        <p:txBody>
          <a:bodyPr/>
          <a:lstStyle/>
          <a:p>
            <a:r>
              <a:rPr lang="en-GB" b="1" dirty="0">
                <a:solidFill>
                  <a:schemeClr val="tx1"/>
                </a:solidFill>
              </a:rPr>
              <a:t>Out of Area Contact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2902974528"/>
              </p:ext>
            </p:extLst>
          </p:nvPr>
        </p:nvGraphicFramePr>
        <p:xfrm>
          <a:off x="838200" y="1181100"/>
          <a:ext cx="10515600" cy="5704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5200">
                  <a:extLst>
                    <a:ext uri="{9D8B030D-6E8A-4147-A177-3AD203B41FA5}">
                      <a16:colId xmlns:a16="http://schemas.microsoft.com/office/drawing/2014/main" val="3050645281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2468535841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27062384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Geograph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ischarge Hub Cont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ocal Authority Conta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4710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n-lt"/>
                        </a:rPr>
                        <a:t>City</a:t>
                      </a:r>
                      <a:r>
                        <a:rPr lang="en-GB" sz="1400" baseline="0" dirty="0">
                          <a:latin typeface="+mn-lt"/>
                        </a:rPr>
                        <a:t> of London</a:t>
                      </a:r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"/>
                        </a:rPr>
                        <a:t>adultsduty@cityoflondon.gov.uk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 7332 1224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OH: 020 8356 3200</a:t>
                      </a:r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18098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n-lt"/>
                        </a:rPr>
                        <a:t>Croyd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croydonadultsupport@croydon.gov.uk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 8726 6500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OH: 020 8726 6000</a:t>
                      </a:r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41240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n-lt"/>
                        </a:rPr>
                        <a:t>Enfie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northmid.spa@nhs.net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P1 &amp; P2):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20 3821 1951</a:t>
                      </a:r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80070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Esse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socialcaredirect@essex.gov.uk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345 603 7630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1452 426868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OH: 0345 606 1212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93171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Greenwi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6"/>
                        </a:rPr>
                        <a:t>aops.contact.officers@royalgreenwich.gov.uk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 8921 2304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OH: 020 8854 8888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1557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Hackne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huh-tr.spa-discharge@nhs.net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 8356 6262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OH: 020 8356 2300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access@hackney.gov.uk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 8356 6262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OH: 020 8356 2300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45979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n-lt"/>
                        </a:rPr>
                        <a:t>Haringey</a:t>
                      </a:r>
                      <a:r>
                        <a:rPr lang="en-GB" sz="1400" baseline="0" dirty="0">
                          <a:latin typeface="+mn-lt"/>
                        </a:rPr>
                        <a:t> </a:t>
                      </a:r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okerage.team@haringey.gov.uk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/>
                        </a:rPr>
                        <a:t>Haringey.spoa@haringey.gov.uk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300 033 0333 opt 2 OR 020 7361 3013</a:t>
                      </a:r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latin typeface="+mn-lt"/>
                        </a:rPr>
                        <a:t>John Everson AD (first contact)</a:t>
                      </a:r>
                    </a:p>
                    <a:p>
                      <a:r>
                        <a:rPr lang="en-US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John.Everson@haringey.gov.uk</a:t>
                      </a:r>
                      <a:endParaRPr lang="en-US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Beverley.Tarka@haringey.gov.uk</a:t>
                      </a:r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28634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94885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/>
                </a:solidFill>
              </a:rPr>
              <a:t>Out of Area Contact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1898414037"/>
              </p:ext>
            </p:extLst>
          </p:nvPr>
        </p:nvGraphicFramePr>
        <p:xfrm>
          <a:off x="838200" y="1181100"/>
          <a:ext cx="10515600" cy="5039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5200">
                  <a:extLst>
                    <a:ext uri="{9D8B030D-6E8A-4147-A177-3AD203B41FA5}">
                      <a16:colId xmlns:a16="http://schemas.microsoft.com/office/drawing/2014/main" val="2384248063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1635540446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10429655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Geograph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ischarge</a:t>
                      </a:r>
                      <a:r>
                        <a:rPr lang="en-GB" baseline="0" dirty="0"/>
                        <a:t> Hub Contact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ocal Authority Conta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5431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dirty="0">
                          <a:latin typeface="+mn-lt"/>
                        </a:rPr>
                        <a:t>Hav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"/>
                        </a:rPr>
                        <a:t>nelft.haveringreferrals@nelft.nhs.uk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1708 432 000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OH: 01708 433 999</a:t>
                      </a:r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87830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n-lt"/>
                        </a:rPr>
                        <a:t>Hertfordshire </a:t>
                      </a:r>
                    </a:p>
                    <a:p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lit into two separate services: West Herts (otherwise known as "Herts Valley") and East &amp; North Herts</a:t>
                      </a:r>
                      <a:endParaRPr lang="en-GB" sz="14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u="sng" dirty="0">
                          <a:solidFill>
                            <a:srgbClr val="0563C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hlinkClick r:id="rId3"/>
                        </a:rPr>
                        <a:t>HVOOCHospitalsteam@hertfordshire.gov.uk ENhSpoc@hertfordshire.gov.uk Westherts.dtaspoc@nhs.net</a:t>
                      </a:r>
                      <a:endParaRPr lang="en-GB" sz="14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/>
                </a:tc>
                <a:tc>
                  <a:txBody>
                    <a:bodyPr/>
                    <a:lstStyle/>
                    <a:p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ryl Knight</a:t>
                      </a:r>
                    </a:p>
                    <a:p>
                      <a:r>
                        <a:rPr lang="fr-FR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daryl.knight@hertfordshire.gov.uk</a:t>
                      </a:r>
                      <a:endParaRPr lang="fr-FR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812510440 (Mon - Wed 9-6)</a:t>
                      </a:r>
                      <a:b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ackie Elson (07824518345 Clinical lead)</a:t>
                      </a:r>
                      <a:b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b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3001234042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lesley.marsden@hertfordshire.gov.uk</a:t>
                      </a:r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05842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n-lt"/>
                        </a:rPr>
                        <a:t>Isling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6"/>
                        </a:rPr>
                        <a:t>spoa@islington.gov.uk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 7527 8087</a:t>
                      </a:r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77341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n-lt"/>
                        </a:rPr>
                        <a:t>K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social.services@kent.gov.uk</a:t>
                      </a:r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31801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n-lt"/>
                        </a:rPr>
                        <a:t>Kingston upon Tham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adults@kingston.gov.uk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 8547 5005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OH: 020 8770 5000</a:t>
                      </a:r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56382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Lambe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/>
                        </a:rPr>
                        <a:t>lamccg.swift@nhs.net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mbeth Swift Team (for D2A referrals) 020 7926 585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adultsocialcare@lambeth.gov.uk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 7926 5555</a:t>
                      </a:r>
                    </a:p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8443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67913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/>
                </a:solidFill>
              </a:rPr>
              <a:t>Out of Area Contact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2838907907"/>
              </p:ext>
            </p:extLst>
          </p:nvPr>
        </p:nvGraphicFramePr>
        <p:xfrm>
          <a:off x="838200" y="1181100"/>
          <a:ext cx="10515600" cy="5405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5200">
                  <a:extLst>
                    <a:ext uri="{9D8B030D-6E8A-4147-A177-3AD203B41FA5}">
                      <a16:colId xmlns:a16="http://schemas.microsoft.com/office/drawing/2014/main" val="66745101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2763982066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314602486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Geograph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ischarge Hub Cont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ocal Authority Conta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75477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Lewish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"/>
                        </a:rPr>
                        <a:t>gateway@lewisham.gov.uk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 8314 7777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OH: 020 8693 9066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67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Mer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HospitalToHomeTeam@merton.gov.uk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 8545 4388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OH: 020 8770 5000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6313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Newh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bhnt.nuhdischargeteam@nhs.net</a:t>
                      </a:r>
                      <a:b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</a:b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elft.newhamidh@nhs.net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 8430 2000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31139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Redbrid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firstcontact@redbridge.gov.uk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20 8708 7333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5859170"/>
                  </a:ext>
                </a:extLst>
              </a:tr>
              <a:tr h="914600">
                <a:tc>
                  <a:txBody>
                    <a:bodyPr/>
                    <a:lstStyle/>
                    <a:p>
                      <a:r>
                        <a:rPr lang="en-GB" sz="1400" dirty="0"/>
                        <a:t>Richmond</a:t>
                      </a:r>
                      <a:r>
                        <a:rPr lang="en-GB" sz="1400" baseline="0" dirty="0"/>
                        <a:t> upon Thames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6"/>
                        </a:rPr>
                        <a:t>adultsocialservices@richmond.gov.uk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20 8891 7971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OH: 020 8744 2442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50335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Southwa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oppdcontactteam@southwark.gov.uk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 3049 5751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51211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Sut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 8770 5000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09381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Tower Hamle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adult.care@towerhamlets.gov.uk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 7364 5005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OH: 020 7364 7079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45928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23990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Discharge Hub Contacts</a:t>
            </a:r>
            <a:endParaRPr lang="en-GB" sz="2400" b="1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398357854"/>
              </p:ext>
            </p:extLst>
          </p:nvPr>
        </p:nvGraphicFramePr>
        <p:xfrm>
          <a:off x="604434" y="1069383"/>
          <a:ext cx="10833315" cy="33598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24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008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3282">
                <a:tc>
                  <a:txBody>
                    <a:bodyPr/>
                    <a:lstStyle/>
                    <a:p>
                      <a:r>
                        <a:rPr lang="en-GB" dirty="0"/>
                        <a:t>Geograph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ischarge Hub Conta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12308">
                <a:tc>
                  <a:txBody>
                    <a:bodyPr/>
                    <a:lstStyle/>
                    <a:p>
                      <a:r>
                        <a:rPr lang="en-GB" sz="1400" dirty="0"/>
                        <a:t>Br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ub contact (Daily):</a:t>
                      </a:r>
                      <a:r>
                        <a:rPr lang="en-GB" sz="1400" b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"/>
                        </a:rPr>
                        <a:t>lnwh-tr.nwp-dischargehub@nhs.net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</a:t>
                      </a: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970 353052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r>
                        <a:rPr lang="en-GB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rthwick Park &amp; Central Middlesex Hospitals Discharge</a:t>
                      </a:r>
                      <a:r>
                        <a:rPr lang="en-GB" sz="1400" b="1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Hub </a:t>
                      </a:r>
                      <a:r>
                        <a:rPr lang="en-GB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ad:</a:t>
                      </a:r>
                      <a:r>
                        <a:rPr lang="en-GB" sz="1400" b="1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b="0" kern="1200" baseline="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bash </a:t>
                      </a:r>
                      <a:r>
                        <a:rPr lang="en-GB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varasu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GB" sz="1400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subash.sivarasu@nhs.net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</a:t>
                      </a: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778 491578</a:t>
                      </a:r>
                    </a:p>
                    <a:p>
                      <a:endParaRPr lang="en-GB" sz="1400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77060">
                <a:tc>
                  <a:txBody>
                    <a:bodyPr/>
                    <a:lstStyle/>
                    <a:p>
                      <a:r>
                        <a:rPr lang="en-GB" sz="1400" dirty="0"/>
                        <a:t>Central</a:t>
                      </a:r>
                      <a:r>
                        <a:rPr lang="en-GB" sz="1400" baseline="0" dirty="0"/>
                        <a:t> London (Westminster)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ub contact (Daily):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imperial.smhdischargehub@nhs.net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 Mary’s</a:t>
                      </a:r>
                    </a:p>
                    <a:p>
                      <a:r>
                        <a:rPr lang="en-GB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charge</a:t>
                      </a:r>
                      <a:r>
                        <a:rPr lang="en-GB" sz="1400" b="1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Hub </a:t>
                      </a:r>
                      <a:r>
                        <a:rPr lang="en-GB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ad:</a:t>
                      </a:r>
                      <a:r>
                        <a:rPr lang="en-GB" sz="1400" b="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z Wordsworth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elizabeth.wordsworth@nhs.net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7825 6662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88777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375" y="599386"/>
            <a:ext cx="10515600" cy="277682"/>
          </a:xfrm>
        </p:spPr>
        <p:txBody>
          <a:bodyPr/>
          <a:lstStyle/>
          <a:p>
            <a:r>
              <a:rPr lang="en-GB" b="1" dirty="0">
                <a:solidFill>
                  <a:schemeClr val="tx1"/>
                </a:solidFill>
              </a:rPr>
              <a:t>Out of Area Contact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617774899"/>
              </p:ext>
            </p:extLst>
          </p:nvPr>
        </p:nvGraphicFramePr>
        <p:xfrm>
          <a:off x="838200" y="1181100"/>
          <a:ext cx="10515600" cy="1833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5200">
                  <a:extLst>
                    <a:ext uri="{9D8B030D-6E8A-4147-A177-3AD203B41FA5}">
                      <a16:colId xmlns:a16="http://schemas.microsoft.com/office/drawing/2014/main" val="1558627861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2984385067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16753758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Geograph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ischarge Hub Cont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ocal Authority</a:t>
                      </a:r>
                      <a:r>
                        <a:rPr lang="en-GB" baseline="0" dirty="0"/>
                        <a:t> Contact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9858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Waltham For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"/>
                        </a:rPr>
                        <a:t>WFDischargeHub@nelft.nhs.uk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300 300 1720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OH: 020 8519 3999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77582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 err="1"/>
                        <a:t>Wandsworth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accessteam@wandsworth.gov.uk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</a:t>
                      </a:r>
                      <a:r>
                        <a:rPr lang="en-GB" sz="1400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20 8871 7707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OH: 020 8871 6000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62497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54873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Continuing Healthcare (CHC)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3095471064"/>
              </p:ext>
            </p:extLst>
          </p:nvPr>
        </p:nvGraphicFramePr>
        <p:xfrm>
          <a:off x="838200" y="1181100"/>
          <a:ext cx="10515600" cy="4668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24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231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CH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Conta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Brent, Harrow &amp; Hillingd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Referrals to </a:t>
                      </a:r>
                      <a:r>
                        <a:rPr lang="en-GB" sz="1400" dirty="0">
                          <a:hlinkClick r:id="rId3"/>
                        </a:rPr>
                        <a:t>harrowccg.triage@nhs.net</a:t>
                      </a:r>
                      <a:r>
                        <a:rPr lang="en-GB" sz="1400" dirty="0"/>
                        <a:t> (</a:t>
                      </a:r>
                      <a:r>
                        <a:rPr lang="en-GB" sz="1400" baseline="0" dirty="0"/>
                        <a:t>Weekend only)</a:t>
                      </a:r>
                      <a:endParaRPr lang="en-GB" sz="1400" dirty="0"/>
                    </a:p>
                    <a:p>
                      <a:r>
                        <a:rPr lang="en-GB" sz="1400" dirty="0"/>
                        <a:t>Brokerage:</a:t>
                      </a:r>
                    </a:p>
                    <a:p>
                      <a:r>
                        <a:rPr lang="en-GB" sz="1400" dirty="0"/>
                        <a:t>Brent: </a:t>
                      </a:r>
                      <a:r>
                        <a:rPr lang="en-GB" sz="1400" dirty="0">
                          <a:hlinkClick r:id="rId4"/>
                        </a:rPr>
                        <a:t>brokerage.brent@nhs.net</a:t>
                      </a:r>
                      <a:endParaRPr lang="en-GB" sz="1400" dirty="0"/>
                    </a:p>
                    <a:p>
                      <a:r>
                        <a:rPr lang="en-GB" sz="1400" dirty="0"/>
                        <a:t>Harrow:</a:t>
                      </a:r>
                      <a:r>
                        <a:rPr lang="en-GB" sz="1400" baseline="0" dirty="0"/>
                        <a:t> </a:t>
                      </a:r>
                      <a:r>
                        <a:rPr lang="en-GB" sz="1400" dirty="0">
                          <a:hlinkClick r:id="rId5"/>
                        </a:rPr>
                        <a:t>brokerage.harrow@nhs.net</a:t>
                      </a:r>
                      <a:endParaRPr lang="en-GB" sz="1400" dirty="0"/>
                    </a:p>
                    <a:p>
                      <a:r>
                        <a:rPr lang="en-GB" sz="1400" dirty="0"/>
                        <a:t>Hillingdon</a:t>
                      </a:r>
                      <a:r>
                        <a:rPr lang="en-GB" sz="1400" baseline="0" dirty="0"/>
                        <a:t> - </a:t>
                      </a:r>
                      <a:r>
                        <a:rPr lang="en-GB" sz="1400" dirty="0">
                          <a:hlinkClick r:id="rId6"/>
                        </a:rPr>
                        <a:t>cnw-tr.continuingcare@nhs.net</a:t>
                      </a:r>
                      <a:r>
                        <a:rPr lang="en-GB" sz="1400" dirty="0"/>
                        <a:t>  </a:t>
                      </a:r>
                    </a:p>
                    <a:p>
                      <a:endParaRPr lang="en-GB" sz="1400" dirty="0"/>
                    </a:p>
                    <a:p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ane </a:t>
                      </a:r>
                      <a:r>
                        <a:rPr lang="en-GB" sz="1400" kern="1200" baseline="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ley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 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jane.firmley@nhs.net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/ 020 3114 7183</a:t>
                      </a:r>
                    </a:p>
                    <a:p>
                      <a:r>
                        <a:rPr lang="en-GB" sz="1400" kern="1200" baseline="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waki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baseline="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heswaran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 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dewakimaheswaran@nhs.net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020 3114 7158</a:t>
                      </a:r>
                      <a:endParaRPr lang="en-GB" sz="1400" u="sng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Houns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ferrals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/>
                        </a:rPr>
                        <a:t>Hounslow.commissioning@nhs.net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baseline="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rly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baseline="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uin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Senior Duty Nurse -Hounslow and Ealing CCG)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Ea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ferrals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EALCCG.CHCreferrals@nhs.net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baseline="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mi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oss  (Continuing Healthcare Senior Nurse) – Mobile: 07771 33918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Tri-borou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ferrals to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chc.dutyteam@nhs.net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okerage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2"/>
                        </a:rPr>
                        <a:t>chc.brokerage@nhs.net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becca Campbell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Head of Continuing Healthcare, Central London CCG, Hammersmith &amp; Fulham CCG, West London CCG) /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3"/>
                        </a:rPr>
                        <a:t>rebecca.campbell@nhs.net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/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bile: 07827 93732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an Robinson</a:t>
                      </a: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istant Director / Head of Continuing and Complex Care, NWL CCGs)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4"/>
                        </a:rPr>
                        <a:t>ian.robinson6@nhs.net</a:t>
                      </a:r>
                      <a:r>
                        <a:rPr lang="en-GB" sz="1400" u="non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/ Mobile: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770 83194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76311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Community Rehabilitation Bed Unit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703774172"/>
              </p:ext>
            </p:extLst>
          </p:nvPr>
        </p:nvGraphicFramePr>
        <p:xfrm>
          <a:off x="774032" y="877069"/>
          <a:ext cx="10515600" cy="5024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334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821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Un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Contact Detai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Pamela Brya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Christina</a:t>
                      </a:r>
                      <a:r>
                        <a:rPr lang="en-GB" sz="1400" baseline="0" dirty="0"/>
                        <a:t> Richards (HRCH) (Tel: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747 693178; Email: </a:t>
                      </a:r>
                      <a:r>
                        <a:rPr lang="en-GB" sz="1400" baseline="0" dirty="0">
                          <a:hlinkClick r:id="rId3"/>
                        </a:rPr>
                        <a:t>christina.richards2@nhs.net</a:t>
                      </a:r>
                      <a:r>
                        <a:rPr lang="en-GB" sz="1400" baseline="0" dirty="0"/>
                        <a:t> </a:t>
                      </a:r>
                    </a:p>
                    <a:p>
                      <a:r>
                        <a:rPr lang="en-GB" sz="1400" baseline="0" dirty="0"/>
                        <a:t>Jacki Hunt (</a:t>
                      </a:r>
                      <a:r>
                        <a:rPr lang="en-GB" sz="1400" baseline="0" dirty="0">
                          <a:hlinkClick r:id="rId4"/>
                        </a:rPr>
                        <a:t>jacki.hunt@nhs.net</a:t>
                      </a:r>
                      <a:r>
                        <a:rPr lang="en-GB" sz="1400" baseline="0" dirty="0"/>
                        <a:t> )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As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aseline="0" dirty="0"/>
                        <a:t>Satish Kumar </a:t>
                      </a:r>
                      <a:r>
                        <a:rPr lang="en-GB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s.kumar8@nhs.net</a:t>
                      </a:r>
                      <a:r>
                        <a:rPr lang="en-GB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en-GB" sz="1400" baseline="0" dirty="0"/>
                        <a:t>Linda Simpson </a:t>
                      </a:r>
                      <a:r>
                        <a:rPr lang="en-GB" sz="1400" baseline="0" dirty="0">
                          <a:hlinkClick r:id="rId6"/>
                        </a:rPr>
                        <a:t>LindaJ.Simpson@averyhealthcare.co.uk</a:t>
                      </a:r>
                      <a:r>
                        <a:rPr lang="en-GB" sz="1400" baseline="0" dirty="0"/>
                        <a:t> 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2083851115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H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Jen</a:t>
                      </a:r>
                      <a:r>
                        <a:rPr lang="en-GB" sz="1400" baseline="0" dirty="0"/>
                        <a:t> King (THHFT) (Tel: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849 308438; Email: </a:t>
                      </a:r>
                      <a:r>
                        <a:rPr lang="en-GB" sz="1400" baseline="0" dirty="0">
                          <a:hlinkClick r:id="rId7"/>
                        </a:rPr>
                        <a:t>jenking@nhs.net</a:t>
                      </a:r>
                      <a:r>
                        <a:rPr lang="en-GB" sz="1400" baseline="0" dirty="0"/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aseline="0" dirty="0"/>
                        <a:t>Jamie Morgan – </a:t>
                      </a:r>
                      <a:r>
                        <a:rPr lang="en-GB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775 008884  Email: </a:t>
                      </a:r>
                      <a:r>
                        <a:rPr lang="en-GB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jamie.morgan1@nhs.net</a:t>
                      </a:r>
                      <a:r>
                        <a:rPr lang="en-GB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 err="1"/>
                        <a:t>Clayponds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Peter</a:t>
                      </a:r>
                      <a:r>
                        <a:rPr lang="en-GB" sz="1400" baseline="0" dirty="0"/>
                        <a:t> Wilde (West London) (Tel: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548 142111; Email: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baseline="0" dirty="0">
                          <a:hlinkClick r:id="rId9"/>
                        </a:rPr>
                        <a:t>peter.wilde@nhs.net</a:t>
                      </a:r>
                      <a:r>
                        <a:rPr lang="en-GB" sz="1400" baseline="0" dirty="0"/>
                        <a:t>)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Woodlands (Care UK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Heather Constance (Tel: 0208 954 7720 / 07587645275)</a:t>
                      </a:r>
                      <a:r>
                        <a:rPr lang="en-GB" sz="1400" baseline="0" dirty="0"/>
                        <a:t>; Email: </a:t>
                      </a:r>
                      <a:r>
                        <a:rPr lang="en-GB" sz="1400" baseline="0" dirty="0">
                          <a:hlinkClick r:id="rId10"/>
                        </a:rPr>
                        <a:t>Heather.Constance@careuk.com</a:t>
                      </a:r>
                      <a:endParaRPr lang="en-GB" sz="1400" baseline="0" dirty="0"/>
                    </a:p>
                    <a:p>
                      <a:r>
                        <a:rPr lang="en-GB" sz="1400" dirty="0"/>
                        <a:t>(Fri &amp; Sat) </a:t>
                      </a:r>
                      <a:r>
                        <a:rPr lang="en-GB" sz="1400" dirty="0" err="1"/>
                        <a:t>Komal</a:t>
                      </a:r>
                      <a:r>
                        <a:rPr lang="en-GB" sz="1400" baseline="0" dirty="0"/>
                        <a:t> Patel (</a:t>
                      </a:r>
                      <a:r>
                        <a:rPr lang="en-GB" sz="1400" baseline="0" dirty="0">
                          <a:hlinkClick r:id="rId11"/>
                        </a:rPr>
                        <a:t>Tel:07753460380</a:t>
                      </a:r>
                      <a:r>
                        <a:rPr lang="en-GB" sz="1400" baseline="0" dirty="0"/>
                        <a:t>); Email: </a:t>
                      </a:r>
                      <a:r>
                        <a:rPr lang="en-GB" sz="1400" baseline="0" dirty="0">
                          <a:hlinkClick r:id="rId12"/>
                        </a:rPr>
                        <a:t>komal.patel3@nhs.net</a:t>
                      </a:r>
                      <a:r>
                        <a:rPr lang="en-GB" sz="1400" baseline="0" dirty="0"/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Buchanan Court (Care UK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Heather Constance (Tel: 0208 954 7720 / 07587645275)</a:t>
                      </a:r>
                      <a:r>
                        <a:rPr lang="en-GB" sz="1400" baseline="0" dirty="0"/>
                        <a:t>; Email: </a:t>
                      </a:r>
                      <a:r>
                        <a:rPr lang="en-GB" sz="1400" baseline="0" dirty="0">
                          <a:hlinkClick r:id="rId10"/>
                        </a:rPr>
                        <a:t>Heather.Constance@careuk.com</a:t>
                      </a:r>
                      <a:endParaRPr lang="en-GB" sz="1400" baseline="0" dirty="0"/>
                    </a:p>
                    <a:p>
                      <a:r>
                        <a:rPr lang="en-GB" sz="1400" dirty="0"/>
                        <a:t>(Fri &amp; Sat) </a:t>
                      </a:r>
                      <a:r>
                        <a:rPr lang="en-GB" sz="1400" dirty="0" err="1"/>
                        <a:t>Komal</a:t>
                      </a:r>
                      <a:r>
                        <a:rPr lang="en-GB" sz="1400" baseline="0" dirty="0"/>
                        <a:t> Patel (</a:t>
                      </a:r>
                      <a:r>
                        <a:rPr lang="en-GB" sz="1400" baseline="0" dirty="0">
                          <a:hlinkClick r:id="rId11"/>
                        </a:rPr>
                        <a:t>Tel:07753460380</a:t>
                      </a:r>
                      <a:r>
                        <a:rPr lang="en-GB" sz="1400" baseline="0" dirty="0"/>
                        <a:t>); Email: </a:t>
                      </a:r>
                      <a:r>
                        <a:rPr lang="en-GB" sz="1400" baseline="0" dirty="0">
                          <a:hlinkClick r:id="rId12"/>
                        </a:rPr>
                        <a:t>komal.patel3@nhs.net</a:t>
                      </a:r>
                      <a:r>
                        <a:rPr lang="en-GB" sz="1400" baseline="0" dirty="0"/>
                        <a:t> 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Ale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aseline="0" dirty="0"/>
                        <a:t>Danielle Nation (CLCH) (Tel: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931 349802; Email: 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niellenation</a:t>
                      </a:r>
                      <a:r>
                        <a:rPr lang="en-GB" sz="1400" baseline="0" dirty="0"/>
                        <a:t>@nhs.net)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 err="1"/>
                        <a:t>Athlone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aseline="0" dirty="0"/>
                        <a:t>Danielle Nation (CLCH) (Tel: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931 349802; Email: 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niellenation</a:t>
                      </a:r>
                      <a:r>
                        <a:rPr lang="en-GB" sz="1400" baseline="0" dirty="0"/>
                        <a:t>@nhs.net)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BUP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Joanna Duke (Tel: 07563383262); Email: </a:t>
                      </a:r>
                      <a:r>
                        <a:rPr lang="en-GB" sz="1400" dirty="0">
                          <a:hlinkClick r:id="rId13"/>
                        </a:rPr>
                        <a:t>joanna.duke@bupa.com</a:t>
                      </a:r>
                      <a:endParaRPr lang="en-GB" sz="140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Include CHC Brokerage</a:t>
                      </a:r>
                      <a:r>
                        <a:rPr lang="en-GB" sz="1400" baseline="0" dirty="0"/>
                        <a:t> team when referring</a:t>
                      </a:r>
                      <a:r>
                        <a:rPr lang="en-GB" sz="1400" dirty="0"/>
                        <a:t> </a:t>
                      </a:r>
                      <a:r>
                        <a:rPr lang="en-GB" sz="1400" dirty="0">
                          <a:hlinkClick r:id="rId14"/>
                        </a:rPr>
                        <a:t>brokerage.brent@nhs.net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ICE Hu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5"/>
                        </a:rPr>
                        <a:t>cnwl.icehub@nhs.net</a:t>
                      </a:r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(manage</a:t>
                      </a:r>
                      <a:r>
                        <a:rPr lang="en-GB" sz="1800" b="0" i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36887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25011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Responsible Community Provider Director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3118864598"/>
              </p:ext>
            </p:extLst>
          </p:nvPr>
        </p:nvGraphicFramePr>
        <p:xfrm>
          <a:off x="838200" y="1181100"/>
          <a:ext cx="10515600" cy="521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548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0607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Provi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Conta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West Lond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Chris Hilton</a:t>
                      </a:r>
                    </a:p>
                    <a:p>
                      <a:r>
                        <a:rPr lang="en-GB" sz="1400" dirty="0">
                          <a:hlinkClick r:id="rId2"/>
                        </a:rPr>
                        <a:t>christopher.hilton@nhs.net</a:t>
                      </a:r>
                      <a:endParaRPr lang="en-GB" sz="1400" dirty="0"/>
                    </a:p>
                    <a:p>
                      <a:endParaRPr lang="en-GB" sz="1400" dirty="0"/>
                    </a:p>
                    <a:p>
                      <a:r>
                        <a:rPr lang="en-GB" sz="1400" dirty="0"/>
                        <a:t>Katherine Murray</a:t>
                      </a:r>
                    </a:p>
                    <a:p>
                      <a:r>
                        <a:rPr lang="en-GB" sz="1400" u="sng" dirty="0">
                          <a:hlinkClick r:id="rId3"/>
                        </a:rPr>
                        <a:t>katherine.murray@nhs.net</a:t>
                      </a:r>
                      <a:r>
                        <a:rPr lang="en-GB" sz="1400" u="sng" dirty="0"/>
                        <a:t> </a:t>
                      </a:r>
                    </a:p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CNW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Graeme </a:t>
                      </a:r>
                      <a:r>
                        <a:rPr lang="en-GB" sz="1400" dirty="0" err="1"/>
                        <a:t>Cawl</a:t>
                      </a:r>
                      <a:r>
                        <a:rPr lang="en-GB" sz="1400" dirty="0"/>
                        <a:t> (SRO for Community Beds, NWL ICS)</a:t>
                      </a:r>
                    </a:p>
                    <a:p>
                      <a:r>
                        <a:rPr lang="en-GB" sz="1400" dirty="0">
                          <a:hlinkClick r:id="rId4"/>
                        </a:rPr>
                        <a:t>graeme.caul@nhs.net</a:t>
                      </a:r>
                      <a:endParaRPr lang="en-GB" sz="1400" dirty="0"/>
                    </a:p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CL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James Benson (SRO for</a:t>
                      </a:r>
                      <a:r>
                        <a:rPr lang="en-GB" sz="1400" baseline="0" dirty="0"/>
                        <a:t> Discharge, NWL ICS)</a:t>
                      </a:r>
                      <a:endParaRPr lang="en-GB" sz="1400" dirty="0"/>
                    </a:p>
                    <a:p>
                      <a:r>
                        <a:rPr lang="en-GB" sz="1400" dirty="0">
                          <a:hlinkClick r:id="rId5"/>
                        </a:rPr>
                        <a:t>james.benson1@nhs.net</a:t>
                      </a:r>
                      <a:endParaRPr lang="en-GB" sz="1400" dirty="0"/>
                    </a:p>
                    <a:p>
                      <a:endParaRPr lang="en-GB" sz="1400" dirty="0"/>
                    </a:p>
                    <a:p>
                      <a:r>
                        <a:rPr lang="en-GB" sz="1400" dirty="0"/>
                        <a:t>Philippa Johnson</a:t>
                      </a:r>
                    </a:p>
                    <a:p>
                      <a:r>
                        <a:rPr lang="en-GB" sz="1400" dirty="0">
                          <a:hlinkClick r:id="rId6"/>
                        </a:rPr>
                        <a:t>philippa.johnson1@nhs.net</a:t>
                      </a:r>
                      <a:endParaRPr lang="en-GB" sz="1400" dirty="0"/>
                    </a:p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HR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Anne Stratton (SRO for Community Nursing,</a:t>
                      </a:r>
                      <a:r>
                        <a:rPr lang="en-GB" sz="1400" baseline="0" dirty="0"/>
                        <a:t> NWL ICS)</a:t>
                      </a:r>
                      <a:endParaRPr lang="en-GB" sz="1400" dirty="0"/>
                    </a:p>
                    <a:p>
                      <a:r>
                        <a:rPr lang="en-GB" sz="1400" dirty="0">
                          <a:hlinkClick r:id="rId7"/>
                        </a:rPr>
                        <a:t>a.stratton@nhs.net</a:t>
                      </a:r>
                      <a:endParaRPr lang="en-GB" sz="1400" dirty="0"/>
                    </a:p>
                    <a:p>
                      <a:endParaRPr lang="en-GB" sz="1400" dirty="0"/>
                    </a:p>
                    <a:p>
                      <a:r>
                        <a:rPr lang="en-GB" sz="1400" dirty="0" err="1"/>
                        <a:t>Jacki</a:t>
                      </a:r>
                      <a:r>
                        <a:rPr lang="en-GB" sz="1400" dirty="0"/>
                        <a:t> Hunt</a:t>
                      </a:r>
                    </a:p>
                    <a:p>
                      <a:r>
                        <a:rPr lang="en-GB" sz="1400" dirty="0">
                          <a:hlinkClick r:id="rId8"/>
                        </a:rPr>
                        <a:t>jacki.hunt@nhs.net</a:t>
                      </a:r>
                      <a:endParaRPr lang="en-GB" sz="1400" dirty="0"/>
                    </a:p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48119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Discharge Hub Contact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3312887285"/>
              </p:ext>
            </p:extLst>
          </p:nvPr>
        </p:nvGraphicFramePr>
        <p:xfrm>
          <a:off x="838200" y="1181100"/>
          <a:ext cx="10515600" cy="460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548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0607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Geograph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ischarge</a:t>
                      </a:r>
                      <a:r>
                        <a:rPr lang="en-GB" baseline="0" dirty="0"/>
                        <a:t> Hub Contact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r>
                        <a:rPr lang="en-GB" sz="1400" dirty="0"/>
                        <a:t>Ea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aling Community Partners Referral Hub</a:t>
                      </a:r>
                    </a:p>
                    <a:p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cess for Ealing Community Partners Services including </a:t>
                      </a:r>
                      <a:r>
                        <a:rPr lang="en-GB" sz="1400" b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yponds</a:t>
                      </a: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d MRU: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"/>
                        </a:rPr>
                        <a:t>Ealingcommunity.referrals@nhs.net</a:t>
                      </a: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300 123 4544</a:t>
                      </a:r>
                    </a:p>
                    <a:p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ad: </a:t>
                      </a: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ris </a:t>
                      </a:r>
                      <a:r>
                        <a:rPr lang="en-GB" sz="1400" b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wicki</a:t>
                      </a: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Chris.nowicki@nhs.net</a:t>
                      </a: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7932 0866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aling Hospital Discharge Hub</a:t>
                      </a:r>
                    </a:p>
                    <a:p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ail: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wlm-tr.ecpehdischargehub@nhs.net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400" b="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0" u="non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</a:t>
                      </a:r>
                      <a:r>
                        <a:rPr lang="en-GB" sz="1400" b="0" u="non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0208 967 5656/ 0208 967 5586</a:t>
                      </a:r>
                    </a:p>
                    <a:p>
                      <a:endParaRPr lang="en-GB" sz="1400" b="0" u="sng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0" u="non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ift Lead – Referral Hub</a:t>
                      </a:r>
                    </a:p>
                    <a:p>
                      <a:r>
                        <a:rPr lang="en-GB" sz="1400" b="0" u="non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761 330 221</a:t>
                      </a:r>
                      <a:endParaRPr lang="en-GB" sz="1400" b="0" u="non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charge Hub Lead</a:t>
                      </a: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Rachael</a:t>
                      </a:r>
                      <a:r>
                        <a:rPr lang="en-GB" sz="1400" b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Hines</a:t>
                      </a: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rachael.hines@nhs.net</a:t>
                      </a:r>
                      <a:endParaRPr lang="en-GB" sz="14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874893310</a:t>
                      </a: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71113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2700377017"/>
              </p:ext>
            </p:extLst>
          </p:nvPr>
        </p:nvGraphicFramePr>
        <p:xfrm>
          <a:off x="838200" y="1181100"/>
          <a:ext cx="9948620" cy="3962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08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078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7365">
                <a:tc>
                  <a:txBody>
                    <a:bodyPr/>
                    <a:lstStyle/>
                    <a:p>
                      <a:r>
                        <a:rPr lang="en-GB" dirty="0"/>
                        <a:t>Geograph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ischarge Hub Conta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84627">
                <a:tc>
                  <a:txBody>
                    <a:bodyPr/>
                    <a:lstStyle/>
                    <a:p>
                      <a:r>
                        <a:rPr lang="en-GB" sz="1400" dirty="0"/>
                        <a:t>Hammersmith &amp; Fulh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ub contact (Daily):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"/>
                        </a:rPr>
                        <a:t>imperial.hhdischargehub@nhs.net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 3311 1850</a:t>
                      </a:r>
                    </a:p>
                    <a:p>
                      <a:endParaRPr lang="en-GB" sz="1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charge Hub Lead (Interim):</a:t>
                      </a:r>
                      <a:r>
                        <a:rPr lang="en-GB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nabel</a:t>
                      </a:r>
                      <a:r>
                        <a:rPr lang="en-GB" sz="14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ule </a:t>
                      </a:r>
                      <a:r>
                        <a:rPr lang="en-GB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GB" sz="14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u="sng" kern="1200" dirty="0">
                          <a:solidFill>
                            <a:srgbClr val="0070C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.rule@nhs.ne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7775 227975</a:t>
                      </a:r>
                    </a:p>
                    <a:p>
                      <a:endParaRPr lang="en-GB" sz="1400" b="0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84481">
                <a:tc>
                  <a:txBody>
                    <a:bodyPr/>
                    <a:lstStyle/>
                    <a:p>
                      <a:r>
                        <a:rPr lang="en-GB" sz="1400" dirty="0"/>
                        <a:t>Harr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ub contact (Daily):</a:t>
                      </a:r>
                      <a:r>
                        <a:rPr lang="en-GB" sz="1400" b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lnwh-tr.nwp-dischargehub@nhs.net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970 353052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rthwick Park &amp; Central Middlesex Hospitals Discharge</a:t>
                      </a:r>
                      <a:r>
                        <a:rPr lang="en-GB" sz="1400" b="1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Hub </a:t>
                      </a: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ad: </a:t>
                      </a:r>
                      <a:r>
                        <a:rPr lang="en-GB" sz="1400" b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bash </a:t>
                      </a:r>
                      <a:r>
                        <a:rPr lang="en-GB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varasu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GB" sz="1400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subash.sivarasu@nhs.net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</a:t>
                      </a: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778 491578</a:t>
                      </a:r>
                    </a:p>
                    <a:p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Discharge Hub Contacts</a:t>
            </a:r>
          </a:p>
        </p:txBody>
      </p:sp>
    </p:spTree>
    <p:extLst>
      <p:ext uri="{BB962C8B-B14F-4D97-AF65-F5344CB8AC3E}">
        <p14:creationId xmlns:p14="http://schemas.microsoft.com/office/powerpoint/2010/main" val="36199220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993" y="583888"/>
            <a:ext cx="10515600" cy="277682"/>
          </a:xfrm>
        </p:spPr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Discharge Hub Contact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3043287960"/>
              </p:ext>
            </p:extLst>
          </p:nvPr>
        </p:nvGraphicFramePr>
        <p:xfrm>
          <a:off x="838199" y="1181100"/>
          <a:ext cx="10196594" cy="4058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688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277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Geograph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ischarge Hub Conta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Houns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ub contact (Daily):</a:t>
                      </a:r>
                      <a:r>
                        <a:rPr lang="en-GB" sz="1400" b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"/>
                        </a:rPr>
                        <a:t>hrch.wmdischargehub@nhs.net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208 321 5639</a:t>
                      </a:r>
                    </a:p>
                    <a:p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charge Hub</a:t>
                      </a:r>
                      <a:r>
                        <a:rPr lang="en-GB" sz="1400" b="1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ad: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ris Richards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ail: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Christina.richards2@nhs.net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7747 693178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Hillingd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ub contact (Daily):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thh-tr.dischargeteam@nhs.net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charge Hub Lead: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Jen King / Jamie Morgan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ail: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jenking@nhs.net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/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6"/>
                        </a:rPr>
                        <a:t>jamie.morgan1@nhs.net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7849  308438 / </a:t>
                      </a: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775 008884</a:t>
                      </a:r>
                      <a:endParaRPr lang="en-GB" sz="14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West Lond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ub contact (Daily):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imperial.cxhdischargehub@nhs.net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</a:t>
                      </a:r>
                      <a:r>
                        <a:rPr lang="en-GB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20 3315 8074 / 020 3315 5977</a:t>
                      </a:r>
                    </a:p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charge</a:t>
                      </a:r>
                      <a:r>
                        <a:rPr lang="en-GB" sz="1400" b="1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ad (Interim):</a:t>
                      </a:r>
                      <a:r>
                        <a:rPr lang="en-GB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nabel</a:t>
                      </a:r>
                      <a:r>
                        <a:rPr lang="en-GB" sz="14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ule and </a:t>
                      </a:r>
                      <a:r>
                        <a:rPr lang="en-GB" sz="1400" kern="1200" baseline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ivan</a:t>
                      </a:r>
                      <a:r>
                        <a:rPr lang="en-GB" sz="14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harma</a:t>
                      </a:r>
                    </a:p>
                    <a:p>
                      <a:r>
                        <a:rPr lang="en-GB" sz="140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a.rule@nhs.net</a:t>
                      </a:r>
                      <a:r>
                        <a:rPr lang="en-GB" sz="140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                </a:t>
                      </a:r>
                      <a:r>
                        <a:rPr lang="en-GB" sz="140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/>
                        </a:rPr>
                        <a:t>jivan.sharma@nhs.net</a:t>
                      </a:r>
                      <a:r>
                        <a:rPr lang="en-GB" sz="140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7775 22797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61923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Local Authority Contact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3343189506"/>
              </p:ext>
            </p:extLst>
          </p:nvPr>
        </p:nvGraphicFramePr>
        <p:xfrm>
          <a:off x="176462" y="831425"/>
          <a:ext cx="11806990" cy="63868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60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904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3904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3468">
                <a:tc>
                  <a:txBody>
                    <a:bodyPr/>
                    <a:lstStyle/>
                    <a:p>
                      <a:r>
                        <a:rPr lang="en-GB" dirty="0"/>
                        <a:t>Geograph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ocal Authority Cont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ASS Conta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13550">
                <a:tc>
                  <a:txBody>
                    <a:bodyPr/>
                    <a:lstStyle/>
                    <a:p>
                      <a:r>
                        <a:rPr lang="en-GB" sz="1400" b="1" u="none" dirty="0">
                          <a:solidFill>
                            <a:schemeClr val="tx1"/>
                          </a:solidFill>
                        </a:rPr>
                        <a:t>Bren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baseline="0" dirty="0">
                          <a:solidFill>
                            <a:srgbClr val="FF0000"/>
                          </a:solidFill>
                        </a:rPr>
                        <a:t>First contact to manage daily discharge escalations </a:t>
                      </a: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Amy Manji</a:t>
                      </a:r>
                      <a:r>
                        <a:rPr lang="en-GB" sz="1400" baseline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(</a:t>
                      </a:r>
                      <a:r>
                        <a:rPr lang="en-GB" sz="14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Service </a:t>
                      </a: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M</a:t>
                      </a: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anager)</a:t>
                      </a: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  <a:hlinkClick r:id="rId3"/>
                        </a:rPr>
                        <a:t>Amy.Manji@brent.gov.uk</a:t>
                      </a:r>
                      <a:endParaRPr lang="en-GB" sz="14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Tel:  07956</a:t>
                      </a:r>
                      <a:r>
                        <a:rPr lang="en-GB" sz="1400" baseline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545020</a:t>
                      </a: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endParaRPr lang="en-GB" sz="1400" baseline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GB" sz="1400" baseline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Back up</a:t>
                      </a: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: Yvonne Olasunkanmi (Head of Service) </a:t>
                      </a: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Yvonne.Olasunkanmi@brent.gov.uk</a:t>
                      </a: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07867 18433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neric contact: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HospitalDischargeTeam@brent.gov.uk</a:t>
                      </a:r>
                      <a:r>
                        <a:rPr lang="en-GB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 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Amy Manji</a:t>
                      </a:r>
                      <a:r>
                        <a:rPr lang="en-GB" sz="1400" baseline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(</a:t>
                      </a:r>
                      <a:r>
                        <a:rPr lang="en-GB" sz="14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Service</a:t>
                      </a:r>
                      <a:r>
                        <a:rPr lang="en-GB" sz="1400" baseline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Manager)</a:t>
                      </a: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  <a:hlinkClick r:id="rId3"/>
                        </a:rPr>
                        <a:t>Amy.Manji@brent.gov.uk</a:t>
                      </a:r>
                      <a:endParaRPr lang="en-GB" sz="14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Tel:  07956</a:t>
                      </a:r>
                      <a:r>
                        <a:rPr lang="en-GB" sz="1400" baseline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545020</a:t>
                      </a: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endParaRPr lang="en-GB" sz="1400" baseline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GB" sz="1400" baseline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Back up</a:t>
                      </a: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: Yvonne Olasunkanmi (Head of Service) </a:t>
                      </a: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Yvonne.Olasunkanmi@brent.gov.uk</a:t>
                      </a: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07867 184339</a:t>
                      </a: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endParaRPr lang="en-GB" sz="14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udia Brown</a:t>
                      </a:r>
                    </a:p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Claudia.brown@brent.gov.uk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endParaRPr lang="en-GB" sz="14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00293">
                <a:tc>
                  <a:txBody>
                    <a:bodyPr/>
                    <a:lstStyle/>
                    <a:p>
                      <a:r>
                        <a:rPr lang="en-GB" sz="1400" b="1" u="none" dirty="0">
                          <a:solidFill>
                            <a:schemeClr val="tx1"/>
                          </a:solidFill>
                        </a:rPr>
                        <a:t>Central</a:t>
                      </a:r>
                      <a:r>
                        <a:rPr lang="en-GB" sz="1400" b="1" u="none" baseline="0" dirty="0">
                          <a:solidFill>
                            <a:schemeClr val="tx1"/>
                          </a:solidFill>
                        </a:rPr>
                        <a:t> London</a:t>
                      </a:r>
                    </a:p>
                    <a:p>
                      <a:endParaRPr lang="en-GB" sz="1400" baseline="0" dirty="0"/>
                    </a:p>
                    <a:p>
                      <a:r>
                        <a:rPr lang="en-GB" sz="1400" b="1" baseline="0" dirty="0">
                          <a:solidFill>
                            <a:srgbClr val="FF0000"/>
                          </a:solidFill>
                        </a:rPr>
                        <a:t>First contact to manage daily discharge escalations (below)</a:t>
                      </a:r>
                    </a:p>
                    <a:p>
                      <a:endParaRPr lang="en-GB" sz="1400" b="1" baseline="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baseline="0" dirty="0"/>
                        <a:t>Donna Barry 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baseline="0" dirty="0">
                          <a:hlinkClick r:id="rId6"/>
                        </a:rPr>
                        <a:t>dbarry@westminster.gov.uk</a:t>
                      </a:r>
                      <a:r>
                        <a:rPr lang="en-GB" sz="1400" b="1" baseline="0" dirty="0"/>
                        <a:t> </a:t>
                      </a:r>
                    </a:p>
                    <a:p>
                      <a:r>
                        <a:rPr lang="en-GB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817 054983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0" baseline="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baseline="0" dirty="0"/>
                        <a:t>Backup: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baseline="0" dirty="0"/>
                        <a:t>Matt White </a:t>
                      </a: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mwhite1@westminster.gov.uk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0" i="0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510 166628</a:t>
                      </a:r>
                      <a:endParaRPr lang="en-GB" sz="1400" b="0" i="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400" b="0" i="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ison Evans (Social Care Lead Mental Health Westminster)</a:t>
                      </a:r>
                      <a:b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alison.evans2@nhs.net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               </a:t>
                      </a:r>
                    </a:p>
                    <a:p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b: 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834 755518</a:t>
                      </a:r>
                    </a:p>
                    <a:p>
                      <a:endParaRPr lang="en-GB" sz="1400" dirty="0">
                        <a:solidFill>
                          <a:srgbClr val="FF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  <a:p>
                      <a:r>
                        <a:rPr lang="en-GB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eksandra </a:t>
                      </a:r>
                      <a:r>
                        <a:rPr lang="en-GB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uszka</a:t>
                      </a:r>
                      <a:endParaRPr lang="en-GB" sz="14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rim Team Manager</a:t>
                      </a:r>
                    </a:p>
                    <a:p>
                      <a:r>
                        <a:rPr lang="en-GB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ree Boroughs Adults Hospital  </a:t>
                      </a:r>
                    </a:p>
                    <a:p>
                      <a:r>
                        <a:rPr lang="en-GB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uty: 020 3315 8797</a:t>
                      </a:r>
                    </a:p>
                    <a:p>
                      <a:r>
                        <a:rPr lang="en-GB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bile: 07790 824184</a:t>
                      </a:r>
                    </a:p>
                    <a:p>
                      <a:r>
                        <a:rPr lang="en-GB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ail: aleksandra.gruszka@rbkc.gov.uk </a:t>
                      </a:r>
                    </a:p>
                    <a:p>
                      <a:r>
                        <a:rPr lang="en-GB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uty email: opsouthhospitals@rbkc.gov.uk</a:t>
                      </a:r>
                    </a:p>
                    <a:p>
                      <a:endParaRPr lang="en-GB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il Cooper (Head of Hospital Team)</a:t>
                      </a:r>
                      <a:b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/>
                        </a:rPr>
                        <a:t>ncooper@westminster.gov.uk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 </a:t>
                      </a:r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07817 053876    </a:t>
                      </a:r>
                      <a:endParaRPr lang="en-GB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rnie Flaherty</a:t>
                      </a:r>
                    </a:p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bflaherty@westminster.gov.uk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u="non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sva</a:t>
                      </a:r>
                      <a:r>
                        <a:rPr lang="en-GB" sz="1400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u="non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thasivam</a:t>
                      </a:r>
                      <a:endParaRPr lang="en-GB" sz="1400" u="non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visva.sathasivam@rbkc.gov.uk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48533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Local Authority Contact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1923735153"/>
              </p:ext>
            </p:extLst>
          </p:nvPr>
        </p:nvGraphicFramePr>
        <p:xfrm>
          <a:off x="441434" y="969035"/>
          <a:ext cx="11303877" cy="5715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766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571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701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1817">
                <a:tc>
                  <a:txBody>
                    <a:bodyPr/>
                    <a:lstStyle/>
                    <a:p>
                      <a:r>
                        <a:rPr lang="en-GB" dirty="0"/>
                        <a:t>Geograph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ocal</a:t>
                      </a:r>
                      <a:r>
                        <a:rPr lang="en-GB" baseline="0" dirty="0"/>
                        <a:t> Authority Contact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ASS Conta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7346">
                <a:tc>
                  <a:txBody>
                    <a:bodyPr/>
                    <a:lstStyle/>
                    <a:p>
                      <a:r>
                        <a:rPr lang="en-GB" sz="1400" b="1" u="none" dirty="0">
                          <a:solidFill>
                            <a:schemeClr val="tx1"/>
                          </a:solidFill>
                        </a:rPr>
                        <a:t>Ealing</a:t>
                      </a:r>
                    </a:p>
                    <a:p>
                      <a:endParaRPr lang="en-GB" sz="140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baseline="0" dirty="0">
                          <a:solidFill>
                            <a:srgbClr val="FF0000"/>
                          </a:solidFill>
                        </a:rPr>
                        <a:t>First contact to manage daily discharge escalations: (below)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ovan </a:t>
                      </a:r>
                      <a:r>
                        <a:rPr lang="en-GB" sz="14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pah</a:t>
                      </a:r>
                      <a:r>
                        <a:rPr lang="en-GB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Team Manager)</a:t>
                      </a:r>
                    </a:p>
                    <a:p>
                      <a:r>
                        <a:rPr lang="en-GB" sz="140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AppahD@ealing.gov.uk</a:t>
                      </a:r>
                      <a:endParaRPr lang="en-GB" sz="1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 (Duty): 0208 825 6277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 (Direct): 0208 825 5081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b: 07858985813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resa Birkett  (Head of Service )</a:t>
                      </a:r>
                    </a:p>
                    <a:p>
                      <a:r>
                        <a:rPr lang="en-GB" sz="140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rkettT</a:t>
                      </a:r>
                      <a:r>
                        <a:rPr lang="en-GB" sz="140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@ealing.gov.uk</a:t>
                      </a:r>
                      <a:endParaRPr lang="en-GB" sz="1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 (Direct): 0208 825 8429 / Mob: 07738 264683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acky Yates (Assistant Director)</a:t>
                      </a:r>
                    </a:p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yatesj@ealing.gov.uk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8 825 9918 / Mob: 07931 368617</a:t>
                      </a:r>
                      <a:endParaRPr lang="en-GB" sz="14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rry</a:t>
                      </a:r>
                      <a:r>
                        <a:rPr lang="en-GB" sz="14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tevens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6"/>
                        </a:rPr>
                        <a:t>StevensK@ealing.gov.uk</a:t>
                      </a: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endParaRPr lang="en-GB" sz="14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34231">
                <a:tc>
                  <a:txBody>
                    <a:bodyPr/>
                    <a:lstStyle/>
                    <a:p>
                      <a:r>
                        <a:rPr lang="en-GB" sz="1400" b="1" u="none" dirty="0">
                          <a:solidFill>
                            <a:srgbClr val="FF0000"/>
                          </a:solidFill>
                        </a:rPr>
                        <a:t>Hammersmith</a:t>
                      </a:r>
                      <a:r>
                        <a:rPr lang="en-GB" sz="1400" b="1" u="none" baseline="0" dirty="0">
                          <a:solidFill>
                            <a:srgbClr val="FF0000"/>
                          </a:solidFill>
                        </a:rPr>
                        <a:t> &amp; Fulham</a:t>
                      </a:r>
                    </a:p>
                    <a:p>
                      <a:endParaRPr lang="en-GB" sz="1400" b="1" baseline="0" dirty="0">
                        <a:solidFill>
                          <a:srgbClr val="FF0000"/>
                        </a:solidFill>
                      </a:endParaRPr>
                    </a:p>
                    <a:p>
                      <a:r>
                        <a:rPr lang="en-GB" sz="1400" b="1" baseline="0" dirty="0">
                          <a:solidFill>
                            <a:srgbClr val="FF0000"/>
                          </a:solidFill>
                        </a:rPr>
                        <a:t>First contact to manage daily discharge escalations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baseline="0" dirty="0">
                          <a:solidFill>
                            <a:schemeClr val="tx1"/>
                          </a:solidFill>
                        </a:rPr>
                        <a:t>Donna Barry </a:t>
                      </a:r>
                      <a:endParaRPr lang="en-GB" sz="1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baseline="0" dirty="0">
                          <a:solidFill>
                            <a:srgbClr val="FF0000"/>
                          </a:solidFill>
                          <a:hlinkClick r:id="rId7"/>
                        </a:rPr>
                        <a:t>dbarry@westminster.gov.uk</a:t>
                      </a:r>
                      <a:r>
                        <a:rPr lang="en-GB" sz="1400" b="1" baseline="0" dirty="0">
                          <a:solidFill>
                            <a:srgbClr val="FF0000"/>
                          </a:solidFill>
                        </a:rPr>
                        <a:t> </a:t>
                      </a:r>
                    </a:p>
                    <a:p>
                      <a:r>
                        <a:rPr lang="en-GB" sz="14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817 054983</a:t>
                      </a:r>
                    </a:p>
                    <a:p>
                      <a:endParaRPr lang="en-GB" sz="1800" b="0" i="0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calate</a:t>
                      </a:r>
                      <a:r>
                        <a:rPr lang="en-GB" sz="1400" b="0" i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 Linda Jackson.</a:t>
                      </a:r>
                    </a:p>
                    <a:p>
                      <a:r>
                        <a:rPr lang="en-GB" sz="1400" b="0" i="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Linda.Jackson@lbhf.gov.uk</a:t>
                      </a:r>
                      <a:r>
                        <a:rPr lang="en-GB" sz="1400" b="0" i="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r>
                        <a:rPr lang="en-GB" sz="14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7776 673085 </a:t>
                      </a:r>
                      <a:r>
                        <a:rPr lang="en-GB" sz="1400" b="1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/or </a:t>
                      </a:r>
                    </a:p>
                    <a:p>
                      <a:r>
                        <a:rPr lang="en-GB" sz="1400" b="0" baseline="0" dirty="0">
                          <a:solidFill>
                            <a:schemeClr val="tx1"/>
                          </a:solidFill>
                        </a:rPr>
                        <a:t>Matt White </a:t>
                      </a:r>
                    </a:p>
                    <a:p>
                      <a:r>
                        <a:rPr lang="en-GB" sz="1400" u="sng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/>
                        </a:rPr>
                        <a:t>mwhite1@westminster.gov.uk</a:t>
                      </a:r>
                      <a:endParaRPr lang="en-GB" sz="1400" u="sng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0" i="0" u="non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</a:t>
                      </a:r>
                      <a:r>
                        <a:rPr lang="en-GB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510 166628</a:t>
                      </a:r>
                      <a:endParaRPr lang="en-GB" sz="1400" b="0" i="0" u="sng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3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nior Social worker</a:t>
                      </a:r>
                    </a:p>
                    <a:p>
                      <a:r>
                        <a:rPr lang="en-GB" sz="13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ada Zanichelli </a:t>
                      </a:r>
                    </a:p>
                    <a:p>
                      <a:r>
                        <a:rPr lang="en-GB" sz="13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one: 020 3311 1803</a:t>
                      </a:r>
                    </a:p>
                    <a:p>
                      <a:r>
                        <a:rPr lang="en-GB" sz="13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bile: 07795 617105</a:t>
                      </a:r>
                    </a:p>
                    <a:p>
                      <a:r>
                        <a:rPr lang="en-GB" sz="13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anichelli Giada: H&amp;F </a:t>
                      </a:r>
                      <a:r>
                        <a:rPr lang="en-GB" sz="1300" b="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Giada.Zanichelli@lbhf.gov.uk</a:t>
                      </a:r>
                      <a:endParaRPr lang="en-GB" sz="1300" b="0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30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r>
                        <a:rPr lang="en-GB" sz="13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nior Practitioner </a:t>
                      </a:r>
                    </a:p>
                    <a:p>
                      <a:r>
                        <a:rPr lang="en-GB" sz="13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ette peart Reid</a:t>
                      </a:r>
                    </a:p>
                    <a:p>
                      <a:r>
                        <a:rPr lang="en-GB" sz="13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Duty:  020 3311 1803</a:t>
                      </a:r>
                    </a:p>
                    <a:p>
                      <a:r>
                        <a:rPr lang="en-GB" sz="13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bile: 07971626005</a:t>
                      </a:r>
                    </a:p>
                    <a:p>
                      <a:r>
                        <a:rPr lang="en-GB" sz="13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GB" sz="1300" kern="1200" dirty="0">
                          <a:solidFill>
                            <a:srgbClr val="0070C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peartreid@westminster.gov.uk</a:t>
                      </a:r>
                      <a:r>
                        <a:rPr lang="en-GB" sz="13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endParaRPr lang="en-GB" sz="1400" b="0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br>
                        <a:rPr lang="en-GB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ferdita Koka</a:t>
                      </a:r>
                      <a:r>
                        <a:rPr lang="en-GB" sz="14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Team Manager Charing Cross </a:t>
                      </a:r>
                      <a:r>
                        <a:rPr lang="en-GB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br>
                        <a:rPr lang="en-GB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400" b="0" u="sng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Aferdita.Koka@lbhf.gov.uk</a:t>
                      </a:r>
                      <a:endParaRPr lang="en-GB" sz="1400" b="0" u="non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</a:t>
                      </a:r>
                      <a:r>
                        <a:rPr lang="en-GB" sz="14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311 1813/44</a:t>
                      </a:r>
                      <a:endParaRPr lang="en-GB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sa </a:t>
                      </a:r>
                      <a:r>
                        <a:rPr lang="en-GB" sz="14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dfern</a:t>
                      </a:r>
                      <a:endParaRPr lang="en-GB" sz="1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u="sng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2"/>
                        </a:rPr>
                        <a:t>Lisa.Redfern@lbhf.gov.uk</a:t>
                      </a:r>
                      <a:endParaRPr lang="en-GB" sz="1400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400" b="0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nda</a:t>
                      </a:r>
                      <a:r>
                        <a:rPr lang="en-GB" sz="14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Jackson</a:t>
                      </a:r>
                      <a:endParaRPr lang="en-GB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400" b="0" i="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Linda.Jackson@lbhf.gov.uk</a:t>
                      </a:r>
                      <a:r>
                        <a:rPr lang="en-GB" sz="1400" b="0" i="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r>
                        <a:rPr lang="en-GB" sz="14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776 67308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20734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993" y="506399"/>
            <a:ext cx="10515600" cy="277682"/>
          </a:xfrm>
        </p:spPr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Local Authority Contact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1526010632"/>
              </p:ext>
            </p:extLst>
          </p:nvPr>
        </p:nvGraphicFramePr>
        <p:xfrm>
          <a:off x="324994" y="868345"/>
          <a:ext cx="11610332" cy="63866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10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905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887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8038">
                <a:tc>
                  <a:txBody>
                    <a:bodyPr/>
                    <a:lstStyle/>
                    <a:p>
                      <a:r>
                        <a:rPr lang="en-GB" dirty="0"/>
                        <a:t>Geograph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ocal Authority</a:t>
                      </a:r>
                      <a:r>
                        <a:rPr lang="en-GB" baseline="0" dirty="0"/>
                        <a:t> Contact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ASS</a:t>
                      </a:r>
                      <a:r>
                        <a:rPr lang="en-GB" baseline="0" dirty="0"/>
                        <a:t> Contact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79886">
                <a:tc>
                  <a:txBody>
                    <a:bodyPr/>
                    <a:lstStyle/>
                    <a:p>
                      <a:r>
                        <a:rPr lang="en-GB" sz="1200" b="1" u="none" dirty="0">
                          <a:solidFill>
                            <a:schemeClr val="tx1"/>
                          </a:solidFill>
                        </a:rPr>
                        <a:t>Harrow</a:t>
                      </a:r>
                    </a:p>
                    <a:p>
                      <a:endParaRPr lang="en-GB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baseline="0" dirty="0">
                          <a:solidFill>
                            <a:srgbClr val="FF0000"/>
                          </a:solidFill>
                        </a:rPr>
                        <a:t>First contact to manage daily discharge escalations </a:t>
                      </a:r>
                    </a:p>
                    <a:p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mantha Procter – Service Manager</a:t>
                      </a:r>
                    </a:p>
                    <a:p>
                      <a:r>
                        <a:rPr lang="en-GB" sz="120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Samantha.procter@harrow.gov.uk</a:t>
                      </a:r>
                      <a:endParaRPr lang="en-GB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  07927 548125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208 869 2594 (Hospital</a:t>
                      </a:r>
                      <a:r>
                        <a:rPr lang="en-GB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ischarge Team</a:t>
                      </a: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san </a:t>
                      </a:r>
                      <a:r>
                        <a:rPr lang="en-GB" sz="12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ambugu</a:t>
                      </a: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  (Acting Team Manager, Hospital Discharge Team)</a:t>
                      </a:r>
                    </a:p>
                    <a:p>
                      <a:r>
                        <a:rPr lang="en-GB" sz="120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Susan.wambugu@harrow.gov.uk</a:t>
                      </a:r>
                      <a:endParaRPr lang="en-GB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gela Morris</a:t>
                      </a:r>
                    </a:p>
                    <a:p>
                      <a:r>
                        <a:rPr lang="en-GB" sz="12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Angela.Morris@harrow.gov.uk</a:t>
                      </a:r>
                      <a:endParaRPr lang="en-GB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74557">
                <a:tc>
                  <a:txBody>
                    <a:bodyPr/>
                    <a:lstStyle/>
                    <a:p>
                      <a:r>
                        <a:rPr lang="en-GB" sz="1200" b="1" u="none" dirty="0">
                          <a:solidFill>
                            <a:schemeClr val="tx1"/>
                          </a:solidFill>
                        </a:rPr>
                        <a:t>Hounslow</a:t>
                      </a:r>
                    </a:p>
                    <a:p>
                      <a:endParaRPr lang="en-GB" sz="1200" b="1" u="none" dirty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baseline="0" dirty="0">
                          <a:solidFill>
                            <a:srgbClr val="FF0000"/>
                          </a:solidFill>
                        </a:rPr>
                        <a:t>First contact to manage daily discharge escalations 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baseline="0" dirty="0">
                          <a:solidFill>
                            <a:schemeClr val="tx1"/>
                          </a:solidFill>
                        </a:rPr>
                        <a:t>Kelly </a:t>
                      </a:r>
                      <a:r>
                        <a:rPr lang="en-GB" sz="1200" b="0" baseline="0" dirty="0" err="1">
                          <a:solidFill>
                            <a:schemeClr val="tx1"/>
                          </a:solidFill>
                        </a:rPr>
                        <a:t>Goater</a:t>
                      </a:r>
                      <a:endParaRPr lang="en-GB" sz="1200" b="0" baseline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u="none" dirty="0">
                          <a:solidFill>
                            <a:schemeClr val="tx1"/>
                          </a:solidFill>
                          <a:hlinkClick r:id="rId6"/>
                        </a:rPr>
                        <a:t>kelly.goater@hounslow.gov.uk</a:t>
                      </a:r>
                      <a:r>
                        <a:rPr lang="en-GB" sz="1200" b="0" u="none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1" u="none" dirty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u="none" dirty="0">
                          <a:solidFill>
                            <a:schemeClr val="tx1"/>
                          </a:solidFill>
                        </a:rPr>
                        <a:t>For 2.30 sector call escalations: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u="none" dirty="0">
                          <a:solidFill>
                            <a:schemeClr val="tx1"/>
                          </a:solidFill>
                        </a:rPr>
                        <a:t>Andrew</a:t>
                      </a:r>
                      <a:r>
                        <a:rPr lang="en-GB" sz="1200" b="0" u="none" baseline="0" dirty="0">
                          <a:solidFill>
                            <a:schemeClr val="tx1"/>
                          </a:solidFill>
                        </a:rPr>
                        <a:t> Shirras (</a:t>
                      </a:r>
                      <a:r>
                        <a:rPr lang="en-GB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oint Head of Continuing Healthcare and Supplier Performance Team)</a:t>
                      </a:r>
                      <a:endParaRPr lang="en-GB" sz="1200" b="0" u="none" baseline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200" b="0" u="none" baseline="0" dirty="0">
                          <a:solidFill>
                            <a:schemeClr val="tx1"/>
                          </a:solidFill>
                          <a:hlinkClick r:id="rId7"/>
                        </a:rPr>
                        <a:t>Andrew.shirras@hounslow.gov.uk</a:t>
                      </a:r>
                      <a:endParaRPr lang="en-GB" sz="1200" b="0" u="non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vid </a:t>
                      </a:r>
                      <a:r>
                        <a:rPr lang="en-GB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angarajah</a:t>
                      </a:r>
                      <a:r>
                        <a:rPr lang="en-GB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Service Manager, ASC Hospital Social Work Team)</a:t>
                      </a:r>
                    </a:p>
                    <a:p>
                      <a:r>
                        <a:rPr lang="en-GB" sz="12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david.thangarajah@hounslow.gov.uk</a:t>
                      </a:r>
                      <a:endParaRPr lang="en-GB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7910 872917</a:t>
                      </a:r>
                    </a:p>
                    <a:p>
                      <a:endParaRPr lang="en-GB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 weekends, alternately David </a:t>
                      </a:r>
                      <a:r>
                        <a:rPr lang="en-GB" sz="12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angarajah</a:t>
                      </a: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r Kelly </a:t>
                      </a:r>
                      <a:r>
                        <a:rPr lang="en-GB" sz="12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oater</a:t>
                      </a: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Team Manager,</a:t>
                      </a:r>
                      <a:r>
                        <a:rPr lang="en-GB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spital Social  Work Service) Tel:</a:t>
                      </a:r>
                      <a:r>
                        <a:rPr lang="en-GB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816 58736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Steven Forbes</a:t>
                      </a:r>
                    </a:p>
                    <a:p>
                      <a:r>
                        <a:rPr lang="en-GB" sz="12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/>
                        </a:rPr>
                        <a:t>Steven.forbes@hounslow.gov.uk</a:t>
                      </a:r>
                      <a:endParaRPr lang="en-GB" sz="1200" dirty="0"/>
                    </a:p>
                    <a:p>
                      <a:endParaRPr lang="en-GB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5948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u="none" dirty="0">
                          <a:solidFill>
                            <a:schemeClr val="tx1"/>
                          </a:solidFill>
                        </a:rPr>
                        <a:t>Hillingd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baseline="0" dirty="0">
                          <a:solidFill>
                            <a:srgbClr val="FF0000"/>
                          </a:solidFill>
                        </a:rPr>
                        <a:t>First contact to manage daily discharge escalations (below)</a:t>
                      </a: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Jenni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Ewens</a:t>
                      </a:r>
                      <a:endParaRPr lang="en-GB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Service Manager, Hospital and Review, </a:t>
                      </a:r>
                      <a:r>
                        <a:rPr lang="en-GB" sz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London Borough of Hillingdon, Civic Centre, Uxbridge UB8 1UW</a:t>
                      </a: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Tel:</a:t>
                      </a:r>
                      <a:r>
                        <a:rPr lang="en-GB" sz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01895 556633 X6739 </a:t>
                      </a: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GB" sz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Mob: </a:t>
                      </a: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943 097 365</a:t>
                      </a: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ail:</a:t>
                      </a:r>
                      <a:r>
                        <a:rPr lang="en-GB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kern="1200" baseline="0" dirty="0">
                          <a:solidFill>
                            <a:srgbClr val="0070C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ewens@hillingdon.gov.uk</a:t>
                      </a:r>
                      <a:endParaRPr lang="en-GB" sz="1200" kern="1200" dirty="0">
                        <a:solidFill>
                          <a:srgbClr val="0070C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endParaRPr lang="en-GB" sz="1200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Gavin</a:t>
                      </a:r>
                      <a:r>
                        <a:rPr lang="en-GB" sz="1200" baseline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GB" sz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Fernandez (Assistant Director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ASC – </a:t>
                      </a:r>
                      <a:r>
                        <a:rPr lang="en-GB" sz="12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Hospital, Localities</a:t>
                      </a:r>
                      <a:r>
                        <a:rPr lang="en-GB" sz="1200" baseline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, Sensory &amp; Review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effectLst/>
                          <a:latin typeface="+mn-lt"/>
                          <a:ea typeface="Calibri" panose="020F0502020204030204" pitchFamily="34" charset="0"/>
                          <a:hlinkClick r:id="rId10"/>
                        </a:rPr>
                        <a:t>gfernandez@hillingdon.gov.uk</a:t>
                      </a:r>
                      <a:r>
                        <a:rPr lang="en-GB" sz="12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Tel:</a:t>
                      </a:r>
                      <a:r>
                        <a:rPr lang="en-GB" sz="1200" baseline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GB" sz="12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01895 250 295 </a:t>
                      </a:r>
                      <a:r>
                        <a:rPr lang="en-GB" sz="1200" baseline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/ Mob: </a:t>
                      </a:r>
                      <a:r>
                        <a:rPr lang="en-GB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939 979532</a:t>
                      </a:r>
                    </a:p>
                    <a:p>
                      <a:pPr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endParaRPr lang="en-GB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20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 the Weekends</a:t>
                      </a:r>
                      <a:r>
                        <a:rPr lang="en-GB" sz="1200" kern="1200" baseline="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s</a:t>
                      </a:r>
                    </a:p>
                    <a:p>
                      <a:r>
                        <a:rPr lang="en-GB" sz="1200" kern="1200" baseline="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talie Carey, ASC Hospital Duty Manager Hospital</a:t>
                      </a:r>
                    </a:p>
                    <a:p>
                      <a:r>
                        <a:rPr lang="en-GB" sz="1200" kern="1200" baseline="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: 07702 156176</a:t>
                      </a:r>
                    </a:p>
                    <a:p>
                      <a:r>
                        <a:rPr lang="en-GB" sz="1200" kern="1200" baseline="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: d2areferrals@hillingdon.gov.uk </a:t>
                      </a:r>
                      <a:endParaRPr lang="en-GB" sz="1200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b="1" u="non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ndra</a:t>
                      </a:r>
                      <a:r>
                        <a:rPr lang="en-GB" sz="1200" b="1" u="non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b="1" u="non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ylor</a:t>
                      </a:r>
                    </a:p>
                    <a:p>
                      <a:r>
                        <a:rPr lang="en-GB" sz="1200" b="1" u="non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staylor@hillingdon.gov.uk</a:t>
                      </a:r>
                      <a:r>
                        <a:rPr lang="en-GB" sz="1200" b="1" u="non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r>
                        <a:rPr lang="en-GB" sz="1200" b="0" u="non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rector</a:t>
                      </a:r>
                    </a:p>
                    <a:p>
                      <a:r>
                        <a:rPr lang="en-GB" sz="1200" b="0" u="non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vider Services &amp; Commissioned Care</a:t>
                      </a:r>
                    </a:p>
                    <a:p>
                      <a:endParaRPr lang="en-GB" sz="1200" b="0" u="none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351, Civic Centre, London</a:t>
                      </a:r>
                      <a:r>
                        <a:rPr lang="en-GB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orough of Hillingdon</a:t>
                      </a:r>
                    </a:p>
                    <a:p>
                      <a:r>
                        <a:rPr lang="en-GB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xbridge, UB8 1UW</a:t>
                      </a:r>
                    </a:p>
                    <a:p>
                      <a:endParaRPr lang="en-GB" sz="12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01895 2507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36661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Local Authority Contact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2649240554"/>
              </p:ext>
            </p:extLst>
          </p:nvPr>
        </p:nvGraphicFramePr>
        <p:xfrm>
          <a:off x="838199" y="1181100"/>
          <a:ext cx="9979617" cy="54476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161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582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051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200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 b="1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eography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 b="1" kern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ocal Authority Contact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 b="1" kern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SS Contact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241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West London</a:t>
                      </a:r>
                      <a:endParaRPr lang="en-GB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b="1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irst contact to manage daily discharge escalations (below)</a:t>
                      </a:r>
                    </a:p>
                    <a:p>
                      <a:endParaRPr lang="en-GB" sz="1200" b="1" baseline="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baseline="0" dirty="0"/>
                        <a:t>Donna Barry </a:t>
                      </a:r>
                      <a:endParaRPr lang="en-GB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baseline="0" dirty="0">
                          <a:hlinkClick r:id="rId3"/>
                        </a:rPr>
                        <a:t>dbarry@westminster.gov.uk</a:t>
                      </a:r>
                      <a:r>
                        <a:rPr lang="en-GB" sz="1200" b="1" baseline="0" dirty="0"/>
                        <a:t> </a:t>
                      </a:r>
                    </a:p>
                    <a:p>
                      <a:r>
                        <a:rPr lang="en-GB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817 054983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baseline="0" dirty="0"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baseline="0" dirty="0">
                          <a:latin typeface="+mn-lt"/>
                        </a:rPr>
                        <a:t>Backup: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baseline="0" dirty="0">
                          <a:latin typeface="+mn-lt"/>
                        </a:rPr>
                        <a:t>Matt White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mwhite1@westminster.gov.uk</a:t>
                      </a:r>
                      <a:endParaRPr lang="en-GB" sz="12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200" b="0" i="0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</a:t>
                      </a:r>
                      <a:r>
                        <a:rPr lang="en-GB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510 166628</a:t>
                      </a:r>
                      <a:endParaRPr lang="en-GB" sz="1200" b="0" i="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im </a:t>
                      </a:r>
                      <a:r>
                        <a:rPr lang="en-GB" sz="120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orvett</a:t>
                      </a: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(ASC Lead, RBKC Mental Health Lead)</a:t>
                      </a:r>
                      <a:br>
                        <a:rPr lang="en-GB" sz="1200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GB" sz="1200" u="sng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hlinkClick r:id="rId5"/>
                        </a:rPr>
                        <a:t>tim.Gorvett@rbkc.gov.uk</a:t>
                      </a:r>
                      <a:r>
                        <a:rPr lang="en-GB" sz="1200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br>
                        <a:rPr lang="en-GB" sz="1200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b: 07967 347764 </a:t>
                      </a:r>
                      <a:endParaRPr lang="en-GB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illary Harris (Team Manager, 3B Hospital Team,</a:t>
                      </a: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dult Social Care)</a:t>
                      </a: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               </a:t>
                      </a:r>
                      <a:r>
                        <a:rPr lang="en-GB" sz="1200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   </a:t>
                      </a:r>
                      <a:endParaRPr lang="en-GB" sz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u="sng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hlinkClick r:id="rId6"/>
                        </a:rPr>
                        <a:t>hillary.harris@rbkc.gov.uk</a:t>
                      </a:r>
                      <a:r>
                        <a:rPr lang="en-GB" sz="1200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  </a:t>
                      </a: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eam Manager      </a:t>
                      </a:r>
                      <a:r>
                        <a:rPr lang="en-GB" sz="1200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   </a:t>
                      </a:r>
                      <a:endParaRPr lang="en-GB" sz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el: 0203 315 8797</a:t>
                      </a: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   </a:t>
                      </a:r>
                      <a:endParaRPr lang="en-GB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bile: 07790 979310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am Manager </a:t>
                      </a:r>
                      <a:r>
                        <a:rPr lang="en-GB" sz="120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eks</a:t>
                      </a: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GB" sz="120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ruszka</a:t>
                      </a: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uty: 020 3315 8797</a:t>
                      </a:r>
                    </a:p>
                    <a:p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bile: 07790 824184</a:t>
                      </a:r>
                    </a:p>
                    <a:p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x:  020 7368 0266</a:t>
                      </a:r>
                    </a:p>
                    <a:p>
                      <a:r>
                        <a:rPr lang="en-GB" sz="120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ail: </a:t>
                      </a:r>
                      <a:r>
                        <a:rPr lang="en-GB" sz="1200" u="sng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aleksandra.gruszka@rbkc.gov.uk</a:t>
                      </a:r>
                      <a:endParaRPr lang="en-GB" sz="1200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20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uty email: </a:t>
                      </a:r>
                      <a:r>
                        <a:rPr lang="en-GB" sz="1200" u="sng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opsouthhospitals@rbkc.gov.uk</a:t>
                      </a:r>
                      <a:endParaRPr lang="en-GB" sz="1200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ernie Flaherty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u="sng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hlinkClick r:id="rId9"/>
                        </a:rPr>
                        <a:t>bflaherty@westminster.gov.uk</a:t>
                      </a:r>
                      <a:endParaRPr lang="en-GB" sz="1200" u="sng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r>
                        <a:rPr lang="en-GB" sz="1200" u="non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sva</a:t>
                      </a:r>
                      <a:r>
                        <a:rPr lang="en-GB" sz="1200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u="non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thasivam</a:t>
                      </a:r>
                      <a:endParaRPr lang="en-GB" sz="1200" u="non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2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visva.sathasivam@rbkc.gov.uk</a:t>
                      </a:r>
                      <a:endParaRPr lang="en-GB" sz="12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3093061"/>
                  </a:ext>
                </a:extLst>
              </a:tr>
              <a:tr h="220721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oyal Borough of Kensington &amp; Chelsea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200" b="1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baseline="0" dirty="0"/>
                        <a:t>Donna Barry </a:t>
                      </a:r>
                      <a:endParaRPr lang="en-GB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baseline="0" dirty="0">
                          <a:hlinkClick r:id="rId3"/>
                        </a:rPr>
                        <a:t>dbarry@westminster.gov.uk</a:t>
                      </a:r>
                      <a:r>
                        <a:rPr lang="en-GB" sz="1200" b="1" baseline="0" dirty="0"/>
                        <a:t> </a:t>
                      </a:r>
                    </a:p>
                    <a:p>
                      <a:r>
                        <a:rPr lang="en-GB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817 054983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baseline="0" dirty="0"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baseline="0" dirty="0">
                          <a:latin typeface="+mn-lt"/>
                        </a:rPr>
                        <a:t>Backup: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baseline="0" dirty="0">
                          <a:latin typeface="+mn-lt"/>
                        </a:rPr>
                        <a:t>Matt White (</a:t>
                      </a:r>
                      <a:r>
                        <a:rPr lang="en-GB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rim Head of 3B Hospital Services)</a:t>
                      </a:r>
                      <a:endParaRPr lang="en-GB" sz="1200" b="1" baseline="0" dirty="0">
                        <a:latin typeface="+mn-lt"/>
                      </a:endParaRPr>
                    </a:p>
                    <a:p>
                      <a:r>
                        <a:rPr lang="en-GB" sz="12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mwhite1@westminster.gov.uk</a:t>
                      </a:r>
                      <a:endParaRPr lang="en-GB" sz="12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200" b="0" i="0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</a:t>
                      </a:r>
                      <a:r>
                        <a:rPr lang="en-GB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7510 166628</a:t>
                      </a:r>
                      <a:endParaRPr lang="en-GB" sz="1200" b="0" i="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illary Harris: RBKC 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u="sng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hlinkClick r:id="rId11"/>
                        </a:rPr>
                        <a:t>Hillary.Harris@rbkc.gov.uk</a:t>
                      </a:r>
                      <a:r>
                        <a:rPr lang="en-GB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el: 0203 315 8790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bile: 07790 979310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leksandra </a:t>
                      </a:r>
                      <a:r>
                        <a:rPr lang="en-GB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ruszka</a:t>
                      </a:r>
                      <a:r>
                        <a:rPr lang="en-GB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, ASC-Services: RBKC </a:t>
                      </a:r>
                      <a:r>
                        <a:rPr lang="en-GB" sz="1300" u="sng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hlinkClick r:id="rId12"/>
                        </a:rPr>
                        <a:t>Aleksandra.Gruszka@rbkc.gov.uk</a:t>
                      </a:r>
                      <a:r>
                        <a:rPr lang="en-GB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uty: 0203 315 8797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b: 07790824184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u="non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sva</a:t>
                      </a:r>
                      <a:r>
                        <a:rPr lang="en-GB" sz="1200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u="non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thasivam</a:t>
                      </a:r>
                      <a:endParaRPr lang="en-GB" sz="1200" u="non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2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visva.sathasivam@rbkc.gov.uk</a:t>
                      </a:r>
                      <a:endParaRPr lang="en-GB" sz="12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240586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ihi.IOJlsjrEJt3b_h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XO0lj06GG7Qnza1Dyn3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ihi.IOJlsjrEJt3b_h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XO0lj06GG7Qnza1Dyn3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WL Grid 16:9">
  <a:themeElements>
    <a:clrScheme name="NWL">
      <a:dk1>
        <a:srgbClr val="000000"/>
      </a:dk1>
      <a:lt1>
        <a:sysClr val="window" lastClr="FFFFFF"/>
      </a:lt1>
      <a:dk2>
        <a:srgbClr val="00B8B3"/>
      </a:dk2>
      <a:lt2>
        <a:srgbClr val="F2F2F2"/>
      </a:lt2>
      <a:accent1>
        <a:srgbClr val="006462"/>
      </a:accent1>
      <a:accent2>
        <a:srgbClr val="007E7B"/>
      </a:accent2>
      <a:accent3>
        <a:srgbClr val="D4DF33"/>
      </a:accent3>
      <a:accent4>
        <a:srgbClr val="00E2DD"/>
      </a:accent4>
      <a:accent5>
        <a:srgbClr val="B1B3B3"/>
      </a:accent5>
      <a:accent6>
        <a:srgbClr val="00B5E2"/>
      </a:accent6>
      <a:hlink>
        <a:srgbClr val="005CB9"/>
      </a:hlink>
      <a:folHlink>
        <a:srgbClr val="002E5C"/>
      </a:folHlink>
    </a:clrScheme>
    <a:fontScheme name="Custom 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1_NWL Grid 16:9">
  <a:themeElements>
    <a:clrScheme name="NWL">
      <a:dk1>
        <a:srgbClr val="000000"/>
      </a:dk1>
      <a:lt1>
        <a:sysClr val="window" lastClr="FFFFFF"/>
      </a:lt1>
      <a:dk2>
        <a:srgbClr val="00B8B3"/>
      </a:dk2>
      <a:lt2>
        <a:srgbClr val="F2F2F2"/>
      </a:lt2>
      <a:accent1>
        <a:srgbClr val="006462"/>
      </a:accent1>
      <a:accent2>
        <a:srgbClr val="007E7B"/>
      </a:accent2>
      <a:accent3>
        <a:srgbClr val="D4DF33"/>
      </a:accent3>
      <a:accent4>
        <a:srgbClr val="00E2DD"/>
      </a:accent4>
      <a:accent5>
        <a:srgbClr val="B1B3B3"/>
      </a:accent5>
      <a:accent6>
        <a:srgbClr val="00B5E2"/>
      </a:accent6>
      <a:hlink>
        <a:srgbClr val="005CB9"/>
      </a:hlink>
      <a:folHlink>
        <a:srgbClr val="002E5C"/>
      </a:folHlink>
    </a:clrScheme>
    <a:fontScheme name="Custom 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C294CD79565744DBCE3B1B6CC9660F4" ma:contentTypeVersion="15" ma:contentTypeDescription="Create a new document." ma:contentTypeScope="" ma:versionID="7877127561054dc66e6fb9c50474a22a">
  <xsd:schema xmlns:xsd="http://www.w3.org/2001/XMLSchema" xmlns:xs="http://www.w3.org/2001/XMLSchema" xmlns:p="http://schemas.microsoft.com/office/2006/metadata/properties" xmlns:ns2="e7fb9bad-05aa-461c-addc-7d8f2572d5d3" xmlns:ns3="37d011f5-24c4-4fb4-8405-b8c6b5679487" targetNamespace="http://schemas.microsoft.com/office/2006/metadata/properties" ma:root="true" ma:fieldsID="420bd2e3e70f30c5a9f95508938fea86" ns2:_="" ns3:_="">
    <xsd:import namespace="e7fb9bad-05aa-461c-addc-7d8f2572d5d3"/>
    <xsd:import namespace="37d011f5-24c4-4fb4-8405-b8c6b567948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ingHintHash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fb9bad-05aa-461c-addc-7d8f2572d5d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9" nillable="true" ma:displayName="Sharing Hint Hash" ma:internalName="SharingHintHash" ma:readOnly="true">
      <xsd:simpleType>
        <xsd:restriction base="dms:Text"/>
      </xsd:simpleType>
    </xsd:element>
    <xsd:element name="SharedWithDetails" ma:index="10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d011f5-24c4-4fb4-8405-b8c6b567948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7DE9F2A-9E81-48C9-919D-787A8B54218E}">
  <ds:schemaRefs>
    <ds:schemaRef ds:uri="http://purl.org/dc/dcmitype/"/>
    <ds:schemaRef ds:uri="http://www.w3.org/XML/1998/namespace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37d011f5-24c4-4fb4-8405-b8c6b5679487"/>
    <ds:schemaRef ds:uri="e7fb9bad-05aa-461c-addc-7d8f2572d5d3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6C2C7D6F-A21B-45C6-91AE-1F12F7C4F53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D332AD8-F98A-4EEC-84BD-78E56E8682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7fb9bad-05aa-461c-addc-7d8f2572d5d3"/>
    <ds:schemaRef ds:uri="37d011f5-24c4-4fb4-8405-b8c6b567948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7360</TotalTime>
  <Words>4465</Words>
  <Application>Microsoft Office PowerPoint</Application>
  <PresentationFormat>Widescreen</PresentationFormat>
  <Paragraphs>721</Paragraphs>
  <Slides>23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.SFUI-Regular</vt:lpstr>
      <vt:lpstr>Arial</vt:lpstr>
      <vt:lpstr>Calibri</vt:lpstr>
      <vt:lpstr>Trebuchet MS</vt:lpstr>
      <vt:lpstr>NWL Grid 16:9</vt:lpstr>
      <vt:lpstr>1_NWL Grid 16:9</vt:lpstr>
      <vt:lpstr>think-cell Slide</vt:lpstr>
      <vt:lpstr>NWL Sector Contacts List (beds, hospices and discharge) Version 7 </vt:lpstr>
      <vt:lpstr>Discharge Hub Contacts</vt:lpstr>
      <vt:lpstr>Discharge Hub Contacts</vt:lpstr>
      <vt:lpstr>Discharge Hub Contacts</vt:lpstr>
      <vt:lpstr>Discharge Hub Contacts</vt:lpstr>
      <vt:lpstr>Local Authority Contacts</vt:lpstr>
      <vt:lpstr>Local Authority Contacts</vt:lpstr>
      <vt:lpstr>Local Authority Contacts</vt:lpstr>
      <vt:lpstr>Local Authority Contacts</vt:lpstr>
      <vt:lpstr>Hospice and community-based specialist palliative care teams contacts</vt:lpstr>
      <vt:lpstr>Hospice and community-based specialist palliative care teams contacts</vt:lpstr>
      <vt:lpstr>Hospice and community-based specialist palliative care teams contacts</vt:lpstr>
      <vt:lpstr>Hospice and community-based specialist palliative care teams contacts</vt:lpstr>
      <vt:lpstr>Hospice and community-based specialist palliative care teams contacts</vt:lpstr>
      <vt:lpstr>Hospice and community-based specialist palliative care teams contacts</vt:lpstr>
      <vt:lpstr>Out of Area Contacts</vt:lpstr>
      <vt:lpstr>Out of Area Contacts</vt:lpstr>
      <vt:lpstr>Out of Area Contacts</vt:lpstr>
      <vt:lpstr>Out of Area Contacts</vt:lpstr>
      <vt:lpstr>Out of Area Contacts</vt:lpstr>
      <vt:lpstr>Continuing Healthcare (CHC)</vt:lpstr>
      <vt:lpstr>Community Rehabilitation Bed Units</vt:lpstr>
      <vt:lpstr>Responsible Community Provider Director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CS Draft Plan</dc:title>
  <dc:creator>Mark Kewley</dc:creator>
  <cp:lastModifiedBy>Virginia Wilkinson</cp:lastModifiedBy>
  <cp:revision>999</cp:revision>
  <dcterms:created xsi:type="dcterms:W3CDTF">2020-05-29T10:39:06Z</dcterms:created>
  <dcterms:modified xsi:type="dcterms:W3CDTF">2023-09-06T11:41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C294CD79565744DBCE3B1B6CC9660F4</vt:lpwstr>
  </property>
  <property fmtid="{D5CDD505-2E9C-101B-9397-08002B2CF9AE}" pid="3" name="MSIP_Label_7a8edf35-91ea-44e1-afab-38c462b39a0c_Enabled">
    <vt:lpwstr>true</vt:lpwstr>
  </property>
  <property fmtid="{D5CDD505-2E9C-101B-9397-08002B2CF9AE}" pid="4" name="MSIP_Label_7a8edf35-91ea-44e1-afab-38c462b39a0c_SetDate">
    <vt:lpwstr>2021-12-22T07:56:37Z</vt:lpwstr>
  </property>
  <property fmtid="{D5CDD505-2E9C-101B-9397-08002B2CF9AE}" pid="5" name="MSIP_Label_7a8edf35-91ea-44e1-afab-38c462b39a0c_Method">
    <vt:lpwstr>Standard</vt:lpwstr>
  </property>
  <property fmtid="{D5CDD505-2E9C-101B-9397-08002B2CF9AE}" pid="6" name="MSIP_Label_7a8edf35-91ea-44e1-afab-38c462b39a0c_Name">
    <vt:lpwstr>Official</vt:lpwstr>
  </property>
  <property fmtid="{D5CDD505-2E9C-101B-9397-08002B2CF9AE}" pid="7" name="MSIP_Label_7a8edf35-91ea-44e1-afab-38c462b39a0c_SiteId">
    <vt:lpwstr>aaacb679-c381-48fb-b320-f9d581ee948f</vt:lpwstr>
  </property>
  <property fmtid="{D5CDD505-2E9C-101B-9397-08002B2CF9AE}" pid="8" name="MSIP_Label_7a8edf35-91ea-44e1-afab-38c462b39a0c_ActionId">
    <vt:lpwstr>f1845428-499e-4f5d-b04c-7aeb8d857e3c</vt:lpwstr>
  </property>
  <property fmtid="{D5CDD505-2E9C-101B-9397-08002B2CF9AE}" pid="9" name="MSIP_Label_7a8edf35-91ea-44e1-afab-38c462b39a0c_ContentBits">
    <vt:lpwstr>0</vt:lpwstr>
  </property>
</Properties>
</file>